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263.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4"/>
    <p:sldMasterId id="2147483864" r:id="rId5"/>
    <p:sldMasterId id="2147483890" r:id="rId6"/>
    <p:sldMasterId id="2147483909" r:id="rId7"/>
  </p:sldMasterIdLst>
  <p:notesMasterIdLst>
    <p:notesMasterId r:id="rId16"/>
  </p:notesMasterIdLst>
  <p:handoutMasterIdLst>
    <p:handoutMasterId r:id="rId17"/>
  </p:handoutMasterIdLst>
  <p:sldIdLst>
    <p:sldId id="2145705684" r:id="rId8"/>
    <p:sldId id="2145705676" r:id="rId9"/>
    <p:sldId id="2145705689" r:id="rId10"/>
    <p:sldId id="2145705690" r:id="rId11"/>
    <p:sldId id="2145705688" r:id="rId12"/>
    <p:sldId id="2145705686" r:id="rId13"/>
    <p:sldId id="260" r:id="rId14"/>
    <p:sldId id="258" r:id="rId15"/>
  </p:sldIdLst>
  <p:sldSz cx="12192000" cy="6858000"/>
  <p:notesSz cx="7102475" cy="9388475"/>
  <p:embeddedFontLst>
    <p:embeddedFont>
      <p:font typeface="Calibri" panose="020F0502020204030204" pitchFamily="34" charset="0"/>
      <p:regular r:id="rId18"/>
      <p:bold r:id="rId19"/>
      <p:italic r:id="rId20"/>
      <p:boldItalic r:id="rId21"/>
    </p:embeddedFont>
    <p:embeddedFont>
      <p:font typeface="Calibri Light" panose="020F0302020204030204" pitchFamily="34" charset="0"/>
      <p:regular r:id="rId22"/>
      <p:italic r:id="rId23"/>
    </p:embeddedFont>
    <p:embeddedFont>
      <p:font typeface="Georgia" panose="02040502050405020303" pitchFamily="18" charset="0"/>
      <p:regular r:id="rId24"/>
      <p:bold r:id="rId25"/>
      <p:italic r:id="rId26"/>
      <p:boldItalic r:id="rId27"/>
    </p:embeddedFont>
    <p:embeddedFont>
      <p:font typeface="Segoe UI" panose="020B0502040204020203" pitchFamily="34" charset="0"/>
      <p:regular r:id="rId28"/>
      <p:bold r:id="rId29"/>
      <p:italic r:id="rId30"/>
      <p:boldItalic r:id="rId31"/>
    </p:embeddedFont>
  </p:embeddedFontLst>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EBB3"/>
    <a:srgbClr val="CDF2FF"/>
    <a:srgbClr val="FFC0BD"/>
    <a:srgbClr val="FFDB93"/>
    <a:srgbClr val="F2F2F2"/>
    <a:srgbClr val="EAE7A8"/>
    <a:srgbClr val="FFFFFF"/>
    <a:srgbClr val="E6E6E6"/>
    <a:srgbClr val="FF8F8A"/>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018" autoAdjust="0"/>
    <p:restoredTop sz="92173" autoAdjust="0"/>
  </p:normalViewPr>
  <p:slideViewPr>
    <p:cSldViewPr snapToGrid="0" snapToObjects="1">
      <p:cViewPr varScale="1">
        <p:scale>
          <a:sx n="62" d="100"/>
          <a:sy n="62" d="100"/>
        </p:scale>
        <p:origin x="368" y="36"/>
      </p:cViewPr>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0"/>
    </p:cViewPr>
  </p:sorterViewPr>
  <p:notesViewPr>
    <p:cSldViewPr snapToGrid="0" snapToObjects="1">
      <p:cViewPr>
        <p:scale>
          <a:sx n="75" d="100"/>
          <a:sy n="75" d="100"/>
        </p:scale>
        <p:origin x="1488" y="-93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font" Target="fonts/font1.fntdata"/><Relationship Id="rId26" Type="http://schemas.openxmlformats.org/officeDocument/2006/relationships/font" Target="fonts/font9.fntdata"/><Relationship Id="rId21" Type="http://schemas.openxmlformats.org/officeDocument/2006/relationships/font" Target="fonts/font4.fntdata"/><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handoutMaster" Target="handoutMasters/handoutMaster1.xml"/><Relationship Id="rId25" Type="http://schemas.openxmlformats.org/officeDocument/2006/relationships/font" Target="fonts/font8.fntdata"/><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font" Target="fonts/font12.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font" Target="fonts/font7.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font" Target="fonts/font6.fntdata"/><Relationship Id="rId28" Type="http://schemas.openxmlformats.org/officeDocument/2006/relationships/font" Target="fonts/font11.fntdata"/><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font" Target="fonts/font2.fntdata"/><Relationship Id="rId31" Type="http://schemas.openxmlformats.org/officeDocument/2006/relationships/font" Target="fonts/font14.fntdata"/><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font" Target="fonts/font5.fntdata"/><Relationship Id="rId27" Type="http://schemas.openxmlformats.org/officeDocument/2006/relationships/font" Target="fonts/font10.fntdata"/><Relationship Id="rId30" Type="http://schemas.openxmlformats.org/officeDocument/2006/relationships/font" Target="fonts/font13.fntdata"/><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0 August 2020</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0 August 2020</a:t>
            </a:fld>
            <a:endParaRPr lang="en-US" dirty="0"/>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0 August 2020</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5</a:t>
            </a:fld>
            <a:endParaRPr lang="en-US"/>
          </a:p>
        </p:txBody>
      </p:sp>
    </p:spTree>
    <p:extLst>
      <p:ext uri="{BB962C8B-B14F-4D97-AF65-F5344CB8AC3E}">
        <p14:creationId xmlns:p14="http://schemas.microsoft.com/office/powerpoint/2010/main" val="3049315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0 August 2020</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6</a:t>
            </a:fld>
            <a:endParaRPr lang="en-US"/>
          </a:p>
        </p:txBody>
      </p:sp>
    </p:spTree>
    <p:extLst>
      <p:ext uri="{BB962C8B-B14F-4D97-AF65-F5344CB8AC3E}">
        <p14:creationId xmlns:p14="http://schemas.microsoft.com/office/powerpoint/2010/main" val="199037342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3.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tags" Target="../tags/tag26.xml"/><Relationship Id="rId11" Type="http://schemas.openxmlformats.org/officeDocument/2006/relationships/image" Target="../media/image4.png"/><Relationship Id="rId5" Type="http://schemas.openxmlformats.org/officeDocument/2006/relationships/tags" Target="../tags/tag25.xml"/><Relationship Id="rId10" Type="http://schemas.openxmlformats.org/officeDocument/2006/relationships/image" Target="../media/image3.png"/><Relationship Id="rId4" Type="http://schemas.openxmlformats.org/officeDocument/2006/relationships/tags" Target="../tags/tag24.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6.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1.emf"/><Relationship Id="rId2" Type="http://schemas.openxmlformats.org/officeDocument/2006/relationships/tags" Target="../tags/tag80.xml"/><Relationship Id="rId1" Type="http://schemas.openxmlformats.org/officeDocument/2006/relationships/vmlDrawing" Target="../drawings/vmlDrawing11.vml"/><Relationship Id="rId6" Type="http://schemas.openxmlformats.org/officeDocument/2006/relationships/tags" Target="../tags/tag84.xml"/><Relationship Id="rId11" Type="http://schemas.openxmlformats.org/officeDocument/2006/relationships/oleObject" Target="../embeddings/oleObject11.bin"/><Relationship Id="rId5" Type="http://schemas.openxmlformats.org/officeDocument/2006/relationships/tags" Target="../tags/tag83.xml"/><Relationship Id="rId10" Type="http://schemas.openxmlformats.org/officeDocument/2006/relationships/slideMaster" Target="../slideMasters/slideMaster1.xml"/><Relationship Id="rId4" Type="http://schemas.openxmlformats.org/officeDocument/2006/relationships/tags" Target="../tags/tag82.xml"/><Relationship Id="rId9" Type="http://schemas.openxmlformats.org/officeDocument/2006/relationships/tags" Target="../tags/tag87.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4.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image" Target="../media/image6.emf"/><Relationship Id="rId2" Type="http://schemas.openxmlformats.org/officeDocument/2006/relationships/tags" Target="../tags/tag88.xml"/><Relationship Id="rId1" Type="http://schemas.openxmlformats.org/officeDocument/2006/relationships/vmlDrawing" Target="../drawings/vmlDrawing12.vml"/><Relationship Id="rId6" Type="http://schemas.openxmlformats.org/officeDocument/2006/relationships/tags" Target="../tags/tag92.xml"/><Relationship Id="rId11" Type="http://schemas.openxmlformats.org/officeDocument/2006/relationships/oleObject" Target="../embeddings/oleObject12.bin"/><Relationship Id="rId5" Type="http://schemas.openxmlformats.org/officeDocument/2006/relationships/tags" Target="../tags/tag91.xml"/><Relationship Id="rId10" Type="http://schemas.openxmlformats.org/officeDocument/2006/relationships/slideMaster" Target="../slideMasters/slideMaster1.xml"/><Relationship Id="rId4" Type="http://schemas.openxmlformats.org/officeDocument/2006/relationships/tags" Target="../tags/tag90.xml"/><Relationship Id="rId9" Type="http://schemas.openxmlformats.org/officeDocument/2006/relationships/tags" Target="../tags/tag95.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2.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image" Target="../media/image1.emf"/><Relationship Id="rId2" Type="http://schemas.openxmlformats.org/officeDocument/2006/relationships/tags" Target="../tags/tag96.xml"/><Relationship Id="rId1" Type="http://schemas.openxmlformats.org/officeDocument/2006/relationships/vmlDrawing" Target="../drawings/vmlDrawing13.vml"/><Relationship Id="rId6" Type="http://schemas.openxmlformats.org/officeDocument/2006/relationships/tags" Target="../tags/tag100.xml"/><Relationship Id="rId11" Type="http://schemas.openxmlformats.org/officeDocument/2006/relationships/oleObject" Target="../embeddings/oleObject13.bin"/><Relationship Id="rId5" Type="http://schemas.openxmlformats.org/officeDocument/2006/relationships/tags" Target="../tags/tag99.xml"/><Relationship Id="rId10" Type="http://schemas.openxmlformats.org/officeDocument/2006/relationships/slideMaster" Target="../slideMasters/slideMaster1.xml"/><Relationship Id="rId4" Type="http://schemas.openxmlformats.org/officeDocument/2006/relationships/tags" Target="../tags/tag98.xml"/><Relationship Id="rId9" Type="http://schemas.openxmlformats.org/officeDocument/2006/relationships/tags" Target="../tags/tag103.xml"/></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5.xml"/><Relationship Id="rId7" Type="http://schemas.openxmlformats.org/officeDocument/2006/relationships/tags" Target="../tags/tag109.xml"/><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tags" Target="../tags/tag108.xml"/><Relationship Id="rId5" Type="http://schemas.openxmlformats.org/officeDocument/2006/relationships/tags" Target="../tags/tag107.xml"/><Relationship Id="rId10" Type="http://schemas.openxmlformats.org/officeDocument/2006/relationships/image" Target="../media/image2.emf"/><Relationship Id="rId4" Type="http://schemas.openxmlformats.org/officeDocument/2006/relationships/tags" Target="../tags/tag106.xml"/><Relationship Id="rId9"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1.xml"/><Relationship Id="rId7" Type="http://schemas.openxmlformats.org/officeDocument/2006/relationships/oleObject" Target="../embeddings/oleObject15.bin"/><Relationship Id="rId2" Type="http://schemas.openxmlformats.org/officeDocument/2006/relationships/tags" Target="../tags/tag110.xml"/><Relationship Id="rId1" Type="http://schemas.openxmlformats.org/officeDocument/2006/relationships/vmlDrawing" Target="../drawings/vmlDrawing15.vml"/><Relationship Id="rId6" Type="http://schemas.openxmlformats.org/officeDocument/2006/relationships/slideMaster" Target="../slideMasters/slideMaster1.xml"/><Relationship Id="rId5" Type="http://schemas.openxmlformats.org/officeDocument/2006/relationships/tags" Target="../tags/tag113.xml"/><Relationship Id="rId4" Type="http://schemas.openxmlformats.org/officeDocument/2006/relationships/tags" Target="../tags/tag11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15.xml"/><Relationship Id="rId7" Type="http://schemas.openxmlformats.org/officeDocument/2006/relationships/image" Target="../media/image7.png"/><Relationship Id="rId2" Type="http://schemas.openxmlformats.org/officeDocument/2006/relationships/tags" Target="../tags/tag114.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 Id="rId9" Type="http://schemas.openxmlformats.org/officeDocument/2006/relationships/image" Target="../media/image9.png"/></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7.bin"/><Relationship Id="rId13" Type="http://schemas.microsoft.com/office/2007/relationships/hdphoto" Target="../media/hdphoto2.wdp"/><Relationship Id="rId3" Type="http://schemas.openxmlformats.org/officeDocument/2006/relationships/tags" Target="../tags/tag117.xml"/><Relationship Id="rId7" Type="http://schemas.openxmlformats.org/officeDocument/2006/relationships/slideMaster" Target="../slideMasters/slideMaster1.xml"/><Relationship Id="rId12" Type="http://schemas.openxmlformats.org/officeDocument/2006/relationships/image" Target="../media/image11.png"/><Relationship Id="rId2" Type="http://schemas.openxmlformats.org/officeDocument/2006/relationships/tags" Target="../tags/tag116.xml"/><Relationship Id="rId16" Type="http://schemas.openxmlformats.org/officeDocument/2006/relationships/image" Target="../media/image3.png"/><Relationship Id="rId1" Type="http://schemas.openxmlformats.org/officeDocument/2006/relationships/vmlDrawing" Target="../drawings/vmlDrawing17.vml"/><Relationship Id="rId6" Type="http://schemas.openxmlformats.org/officeDocument/2006/relationships/tags" Target="../tags/tag120.xml"/><Relationship Id="rId11" Type="http://schemas.microsoft.com/office/2007/relationships/hdphoto" Target="../media/hdphoto1.wdp"/><Relationship Id="rId5" Type="http://schemas.openxmlformats.org/officeDocument/2006/relationships/tags" Target="../tags/tag119.xml"/><Relationship Id="rId15" Type="http://schemas.microsoft.com/office/2007/relationships/hdphoto" Target="../media/hdphoto3.wdp"/><Relationship Id="rId10" Type="http://schemas.openxmlformats.org/officeDocument/2006/relationships/image" Target="../media/image10.png"/><Relationship Id="rId4" Type="http://schemas.openxmlformats.org/officeDocument/2006/relationships/tags" Target="../tags/tag118.xml"/><Relationship Id="rId9" Type="http://schemas.openxmlformats.org/officeDocument/2006/relationships/image" Target="../media/image2.emf"/><Relationship Id="rId14" Type="http://schemas.openxmlformats.org/officeDocument/2006/relationships/image" Target="../media/image12.png"/></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vmlDrawing" Target="../drawings/vmlDrawing18.vml"/><Relationship Id="rId6" Type="http://schemas.openxmlformats.org/officeDocument/2006/relationships/tags" Target="../tags/tag125.xml"/><Relationship Id="rId11" Type="http://schemas.openxmlformats.org/officeDocument/2006/relationships/image" Target="../media/image1.emf"/><Relationship Id="rId5" Type="http://schemas.openxmlformats.org/officeDocument/2006/relationships/tags" Target="../tags/tag124.xml"/><Relationship Id="rId10" Type="http://schemas.openxmlformats.org/officeDocument/2006/relationships/oleObject" Target="../embeddings/oleObject18.bin"/><Relationship Id="rId4" Type="http://schemas.openxmlformats.org/officeDocument/2006/relationships/tags" Target="../tags/tag123.xml"/><Relationship Id="rId9"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20.bin"/><Relationship Id="rId13" Type="http://schemas.microsoft.com/office/2007/relationships/hdphoto" Target="../media/hdphoto2.wdp"/><Relationship Id="rId3" Type="http://schemas.openxmlformats.org/officeDocument/2006/relationships/tags" Target="../tags/tag150.xml"/><Relationship Id="rId7" Type="http://schemas.openxmlformats.org/officeDocument/2006/relationships/slideMaster" Target="../slideMasters/slideMaster2.xml"/><Relationship Id="rId12" Type="http://schemas.openxmlformats.org/officeDocument/2006/relationships/image" Target="../media/image11.png"/><Relationship Id="rId2" Type="http://schemas.openxmlformats.org/officeDocument/2006/relationships/tags" Target="../tags/tag149.xml"/><Relationship Id="rId16" Type="http://schemas.openxmlformats.org/officeDocument/2006/relationships/image" Target="../media/image7.png"/><Relationship Id="rId1" Type="http://schemas.openxmlformats.org/officeDocument/2006/relationships/vmlDrawing" Target="../drawings/vmlDrawing20.vml"/><Relationship Id="rId6" Type="http://schemas.openxmlformats.org/officeDocument/2006/relationships/tags" Target="../tags/tag153.xml"/><Relationship Id="rId11" Type="http://schemas.microsoft.com/office/2007/relationships/hdphoto" Target="../media/hdphoto1.wdp"/><Relationship Id="rId5" Type="http://schemas.openxmlformats.org/officeDocument/2006/relationships/tags" Target="../tags/tag152.xml"/><Relationship Id="rId15" Type="http://schemas.microsoft.com/office/2007/relationships/hdphoto" Target="../media/hdphoto3.wdp"/><Relationship Id="rId10" Type="http://schemas.openxmlformats.org/officeDocument/2006/relationships/image" Target="../media/image10.png"/><Relationship Id="rId4" Type="http://schemas.openxmlformats.org/officeDocument/2006/relationships/tags" Target="../tags/tag151.xml"/><Relationship Id="rId9" Type="http://schemas.openxmlformats.org/officeDocument/2006/relationships/image" Target="../media/image2.emf"/><Relationship Id="rId14" Type="http://schemas.openxmlformats.org/officeDocument/2006/relationships/image" Target="../media/image12.png"/></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1.bin"/><Relationship Id="rId13" Type="http://schemas.microsoft.com/office/2007/relationships/hdphoto" Target="../media/hdphoto2.wdp"/><Relationship Id="rId3" Type="http://schemas.openxmlformats.org/officeDocument/2006/relationships/tags" Target="../tags/tag155.xml"/><Relationship Id="rId7" Type="http://schemas.openxmlformats.org/officeDocument/2006/relationships/slideMaster" Target="../slideMasters/slideMaster2.xml"/><Relationship Id="rId12" Type="http://schemas.openxmlformats.org/officeDocument/2006/relationships/image" Target="../media/image11.png"/><Relationship Id="rId2" Type="http://schemas.openxmlformats.org/officeDocument/2006/relationships/tags" Target="../tags/tag154.xml"/><Relationship Id="rId16" Type="http://schemas.openxmlformats.org/officeDocument/2006/relationships/image" Target="../media/image3.png"/><Relationship Id="rId1" Type="http://schemas.openxmlformats.org/officeDocument/2006/relationships/vmlDrawing" Target="../drawings/vmlDrawing21.vml"/><Relationship Id="rId6" Type="http://schemas.openxmlformats.org/officeDocument/2006/relationships/tags" Target="../tags/tag158.xml"/><Relationship Id="rId11" Type="http://schemas.microsoft.com/office/2007/relationships/hdphoto" Target="../media/hdphoto1.wdp"/><Relationship Id="rId5" Type="http://schemas.openxmlformats.org/officeDocument/2006/relationships/tags" Target="../tags/tag157.xml"/><Relationship Id="rId15" Type="http://schemas.microsoft.com/office/2007/relationships/hdphoto" Target="../media/hdphoto3.wdp"/><Relationship Id="rId10" Type="http://schemas.openxmlformats.org/officeDocument/2006/relationships/image" Target="../media/image10.png"/><Relationship Id="rId4" Type="http://schemas.openxmlformats.org/officeDocument/2006/relationships/tags" Target="../tags/tag156.xml"/><Relationship Id="rId9" Type="http://schemas.openxmlformats.org/officeDocument/2006/relationships/image" Target="../media/image2.emf"/><Relationship Id="rId1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8.xml"/><Relationship Id="rId7" Type="http://schemas.openxmlformats.org/officeDocument/2006/relationships/slideMaster" Target="../slideMasters/slideMaster1.xml"/><Relationship Id="rId12" Type="http://schemas.openxmlformats.org/officeDocument/2006/relationships/image" Target="../media/image5.png"/><Relationship Id="rId2" Type="http://schemas.openxmlformats.org/officeDocument/2006/relationships/tags" Target="../tags/tag27.xml"/><Relationship Id="rId1" Type="http://schemas.openxmlformats.org/officeDocument/2006/relationships/vmlDrawing" Target="../drawings/vmlDrawing3.vml"/><Relationship Id="rId6" Type="http://schemas.openxmlformats.org/officeDocument/2006/relationships/tags" Target="../tags/tag31.xml"/><Relationship Id="rId11" Type="http://schemas.openxmlformats.org/officeDocument/2006/relationships/image" Target="../media/image4.png"/><Relationship Id="rId5" Type="http://schemas.openxmlformats.org/officeDocument/2006/relationships/tags" Target="../tags/tag30.xml"/><Relationship Id="rId10" Type="http://schemas.openxmlformats.org/officeDocument/2006/relationships/image" Target="../media/image3.png"/><Relationship Id="rId4" Type="http://schemas.openxmlformats.org/officeDocument/2006/relationships/tags" Target="../tags/tag29.xml"/><Relationship Id="rId9"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65.xml"/><Relationship Id="rId3" Type="http://schemas.openxmlformats.org/officeDocument/2006/relationships/tags" Target="../tags/tag160.xml"/><Relationship Id="rId7" Type="http://schemas.openxmlformats.org/officeDocument/2006/relationships/tags" Target="../tags/tag164.xml"/><Relationship Id="rId2" Type="http://schemas.openxmlformats.org/officeDocument/2006/relationships/tags" Target="../tags/tag159.xml"/><Relationship Id="rId1" Type="http://schemas.openxmlformats.org/officeDocument/2006/relationships/vmlDrawing" Target="../drawings/vmlDrawing22.vml"/><Relationship Id="rId6" Type="http://schemas.openxmlformats.org/officeDocument/2006/relationships/tags" Target="../tags/tag163.xml"/><Relationship Id="rId11" Type="http://schemas.openxmlformats.org/officeDocument/2006/relationships/image" Target="../media/image1.emf"/><Relationship Id="rId5" Type="http://schemas.openxmlformats.org/officeDocument/2006/relationships/tags" Target="../tags/tag162.xml"/><Relationship Id="rId10" Type="http://schemas.openxmlformats.org/officeDocument/2006/relationships/oleObject" Target="../embeddings/oleObject22.bin"/><Relationship Id="rId4" Type="http://schemas.openxmlformats.org/officeDocument/2006/relationships/tags" Target="../tags/tag161.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7.xml"/><Relationship Id="rId7" Type="http://schemas.openxmlformats.org/officeDocument/2006/relationships/tags" Target="../tags/tag171.xml"/><Relationship Id="rId2" Type="http://schemas.openxmlformats.org/officeDocument/2006/relationships/tags" Target="../tags/tag166.xml"/><Relationship Id="rId1" Type="http://schemas.openxmlformats.org/officeDocument/2006/relationships/vmlDrawing" Target="../drawings/vmlDrawing23.vml"/><Relationship Id="rId6" Type="http://schemas.openxmlformats.org/officeDocument/2006/relationships/tags" Target="../tags/tag170.xml"/><Relationship Id="rId5" Type="http://schemas.openxmlformats.org/officeDocument/2006/relationships/tags" Target="../tags/tag169.xml"/><Relationship Id="rId10" Type="http://schemas.openxmlformats.org/officeDocument/2006/relationships/image" Target="../media/image2.emf"/><Relationship Id="rId4" Type="http://schemas.openxmlformats.org/officeDocument/2006/relationships/tags" Target="../tags/tag168.xml"/><Relationship Id="rId9" Type="http://schemas.openxmlformats.org/officeDocument/2006/relationships/oleObject" Target="../embeddings/oleObject23.bin"/></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3.xml"/><Relationship Id="rId7" Type="http://schemas.openxmlformats.org/officeDocument/2006/relationships/tags" Target="../tags/tag177.xml"/><Relationship Id="rId2" Type="http://schemas.openxmlformats.org/officeDocument/2006/relationships/tags" Target="../tags/tag172.xml"/><Relationship Id="rId1" Type="http://schemas.openxmlformats.org/officeDocument/2006/relationships/vmlDrawing" Target="../drawings/vmlDrawing24.vml"/><Relationship Id="rId6" Type="http://schemas.openxmlformats.org/officeDocument/2006/relationships/tags" Target="../tags/tag176.xml"/><Relationship Id="rId5" Type="http://schemas.openxmlformats.org/officeDocument/2006/relationships/tags" Target="../tags/tag175.xml"/><Relationship Id="rId10" Type="http://schemas.openxmlformats.org/officeDocument/2006/relationships/image" Target="../media/image2.emf"/><Relationship Id="rId4" Type="http://schemas.openxmlformats.org/officeDocument/2006/relationships/tags" Target="../tags/tag174.xml"/><Relationship Id="rId9" Type="http://schemas.openxmlformats.org/officeDocument/2006/relationships/oleObject" Target="../embeddings/oleObject24.bin"/></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9.xml"/><Relationship Id="rId7" Type="http://schemas.openxmlformats.org/officeDocument/2006/relationships/tags" Target="../tags/tag183.xml"/><Relationship Id="rId2" Type="http://schemas.openxmlformats.org/officeDocument/2006/relationships/tags" Target="../tags/tag178.xml"/><Relationship Id="rId1" Type="http://schemas.openxmlformats.org/officeDocument/2006/relationships/vmlDrawing" Target="../drawings/vmlDrawing25.vml"/><Relationship Id="rId6" Type="http://schemas.openxmlformats.org/officeDocument/2006/relationships/tags" Target="../tags/tag182.xml"/><Relationship Id="rId5" Type="http://schemas.openxmlformats.org/officeDocument/2006/relationships/tags" Target="../tags/tag181.xml"/><Relationship Id="rId10" Type="http://schemas.openxmlformats.org/officeDocument/2006/relationships/image" Target="../media/image2.emf"/><Relationship Id="rId4" Type="http://schemas.openxmlformats.org/officeDocument/2006/relationships/tags" Target="../tags/tag180.xml"/><Relationship Id="rId9" Type="http://schemas.openxmlformats.org/officeDocument/2006/relationships/oleObject" Target="../embeddings/oleObject25.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90.xml"/><Relationship Id="rId3" Type="http://schemas.openxmlformats.org/officeDocument/2006/relationships/tags" Target="../tags/tag185.xml"/><Relationship Id="rId7" Type="http://schemas.openxmlformats.org/officeDocument/2006/relationships/tags" Target="../tags/tag189.xml"/><Relationship Id="rId2" Type="http://schemas.openxmlformats.org/officeDocument/2006/relationships/tags" Target="../tags/tag184.xml"/><Relationship Id="rId1" Type="http://schemas.openxmlformats.org/officeDocument/2006/relationships/vmlDrawing" Target="../drawings/vmlDrawing26.vml"/><Relationship Id="rId6" Type="http://schemas.openxmlformats.org/officeDocument/2006/relationships/tags" Target="../tags/tag188.xml"/><Relationship Id="rId11" Type="http://schemas.openxmlformats.org/officeDocument/2006/relationships/image" Target="../media/image2.emf"/><Relationship Id="rId5" Type="http://schemas.openxmlformats.org/officeDocument/2006/relationships/tags" Target="../tags/tag187.xml"/><Relationship Id="rId10" Type="http://schemas.openxmlformats.org/officeDocument/2006/relationships/oleObject" Target="../embeddings/oleObject26.bin"/><Relationship Id="rId4" Type="http://schemas.openxmlformats.org/officeDocument/2006/relationships/tags" Target="../tags/tag186.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97.xml"/><Relationship Id="rId3" Type="http://schemas.openxmlformats.org/officeDocument/2006/relationships/tags" Target="../tags/tag192.xml"/><Relationship Id="rId7" Type="http://schemas.openxmlformats.org/officeDocument/2006/relationships/tags" Target="../tags/tag196.xml"/><Relationship Id="rId12" Type="http://schemas.openxmlformats.org/officeDocument/2006/relationships/image" Target="../media/image1.emf"/><Relationship Id="rId2" Type="http://schemas.openxmlformats.org/officeDocument/2006/relationships/tags" Target="../tags/tag191.xml"/><Relationship Id="rId1" Type="http://schemas.openxmlformats.org/officeDocument/2006/relationships/vmlDrawing" Target="../drawings/vmlDrawing27.vml"/><Relationship Id="rId6" Type="http://schemas.openxmlformats.org/officeDocument/2006/relationships/tags" Target="../tags/tag195.xml"/><Relationship Id="rId11" Type="http://schemas.openxmlformats.org/officeDocument/2006/relationships/oleObject" Target="../embeddings/oleObject27.bin"/><Relationship Id="rId5" Type="http://schemas.openxmlformats.org/officeDocument/2006/relationships/tags" Target="../tags/tag194.xml"/><Relationship Id="rId10" Type="http://schemas.openxmlformats.org/officeDocument/2006/relationships/slideMaster" Target="../slideMasters/slideMaster2.xml"/><Relationship Id="rId4" Type="http://schemas.openxmlformats.org/officeDocument/2006/relationships/tags" Target="../tags/tag193.xml"/><Relationship Id="rId9" Type="http://schemas.openxmlformats.org/officeDocument/2006/relationships/tags" Target="../tags/tag198.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05.xml"/><Relationship Id="rId3" Type="http://schemas.openxmlformats.org/officeDocument/2006/relationships/tags" Target="../tags/tag200.xml"/><Relationship Id="rId7" Type="http://schemas.openxmlformats.org/officeDocument/2006/relationships/tags" Target="../tags/tag204.xml"/><Relationship Id="rId12" Type="http://schemas.openxmlformats.org/officeDocument/2006/relationships/image" Target="../media/image1.emf"/><Relationship Id="rId2" Type="http://schemas.openxmlformats.org/officeDocument/2006/relationships/tags" Target="../tags/tag199.xml"/><Relationship Id="rId1" Type="http://schemas.openxmlformats.org/officeDocument/2006/relationships/vmlDrawing" Target="../drawings/vmlDrawing28.vml"/><Relationship Id="rId6" Type="http://schemas.openxmlformats.org/officeDocument/2006/relationships/tags" Target="../tags/tag203.xml"/><Relationship Id="rId11" Type="http://schemas.openxmlformats.org/officeDocument/2006/relationships/oleObject" Target="../embeddings/oleObject28.bin"/><Relationship Id="rId5" Type="http://schemas.openxmlformats.org/officeDocument/2006/relationships/tags" Target="../tags/tag202.xml"/><Relationship Id="rId10" Type="http://schemas.openxmlformats.org/officeDocument/2006/relationships/slideMaster" Target="../slideMasters/slideMaster2.xml"/><Relationship Id="rId4" Type="http://schemas.openxmlformats.org/officeDocument/2006/relationships/tags" Target="../tags/tag201.xml"/><Relationship Id="rId9" Type="http://schemas.openxmlformats.org/officeDocument/2006/relationships/tags" Target="../tags/tag206.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13.xml"/><Relationship Id="rId3" Type="http://schemas.openxmlformats.org/officeDocument/2006/relationships/tags" Target="../tags/tag208.xml"/><Relationship Id="rId7" Type="http://schemas.openxmlformats.org/officeDocument/2006/relationships/tags" Target="../tags/tag212.xml"/><Relationship Id="rId12" Type="http://schemas.openxmlformats.org/officeDocument/2006/relationships/image" Target="../media/image2.emf"/><Relationship Id="rId2" Type="http://schemas.openxmlformats.org/officeDocument/2006/relationships/tags" Target="../tags/tag207.xml"/><Relationship Id="rId1" Type="http://schemas.openxmlformats.org/officeDocument/2006/relationships/vmlDrawing" Target="../drawings/vmlDrawing29.vml"/><Relationship Id="rId6" Type="http://schemas.openxmlformats.org/officeDocument/2006/relationships/tags" Target="../tags/tag211.xml"/><Relationship Id="rId11" Type="http://schemas.openxmlformats.org/officeDocument/2006/relationships/oleObject" Target="../embeddings/oleObject29.bin"/><Relationship Id="rId5" Type="http://schemas.openxmlformats.org/officeDocument/2006/relationships/tags" Target="../tags/tag210.xml"/><Relationship Id="rId10" Type="http://schemas.openxmlformats.org/officeDocument/2006/relationships/slideMaster" Target="../slideMasters/slideMaster2.xml"/><Relationship Id="rId4" Type="http://schemas.openxmlformats.org/officeDocument/2006/relationships/tags" Target="../tags/tag209.xml"/><Relationship Id="rId9" Type="http://schemas.openxmlformats.org/officeDocument/2006/relationships/tags" Target="../tags/tag214.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21.xml"/><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image" Target="../media/image1.emf"/><Relationship Id="rId2" Type="http://schemas.openxmlformats.org/officeDocument/2006/relationships/tags" Target="../tags/tag215.xml"/><Relationship Id="rId1" Type="http://schemas.openxmlformats.org/officeDocument/2006/relationships/vmlDrawing" Target="../drawings/vmlDrawing30.vml"/><Relationship Id="rId6" Type="http://schemas.openxmlformats.org/officeDocument/2006/relationships/tags" Target="../tags/tag219.xml"/><Relationship Id="rId11" Type="http://schemas.openxmlformats.org/officeDocument/2006/relationships/oleObject" Target="../embeddings/oleObject30.bin"/><Relationship Id="rId5" Type="http://schemas.openxmlformats.org/officeDocument/2006/relationships/tags" Target="../tags/tag218.xml"/><Relationship Id="rId10" Type="http://schemas.openxmlformats.org/officeDocument/2006/relationships/slideMaster" Target="../slideMasters/slideMaster2.xml"/><Relationship Id="rId4" Type="http://schemas.openxmlformats.org/officeDocument/2006/relationships/tags" Target="../tags/tag217.xml"/><Relationship Id="rId9" Type="http://schemas.openxmlformats.org/officeDocument/2006/relationships/tags" Target="../tags/tag22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29.xml"/><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image" Target="../media/image2.emf"/><Relationship Id="rId2" Type="http://schemas.openxmlformats.org/officeDocument/2006/relationships/tags" Target="../tags/tag223.xml"/><Relationship Id="rId1" Type="http://schemas.openxmlformats.org/officeDocument/2006/relationships/vmlDrawing" Target="../drawings/vmlDrawing31.vml"/><Relationship Id="rId6" Type="http://schemas.openxmlformats.org/officeDocument/2006/relationships/tags" Target="../tags/tag227.xml"/><Relationship Id="rId11" Type="http://schemas.openxmlformats.org/officeDocument/2006/relationships/oleObject" Target="../embeddings/oleObject31.bin"/><Relationship Id="rId5" Type="http://schemas.openxmlformats.org/officeDocument/2006/relationships/tags" Target="../tags/tag226.xml"/><Relationship Id="rId10" Type="http://schemas.openxmlformats.org/officeDocument/2006/relationships/slideMaster" Target="../slideMasters/slideMaster2.xml"/><Relationship Id="rId4" Type="http://schemas.openxmlformats.org/officeDocument/2006/relationships/tags" Target="../tags/tag225.xml"/><Relationship Id="rId9" Type="http://schemas.openxmlformats.org/officeDocument/2006/relationships/tags" Target="../tags/tag230.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vmlDrawing" Target="../drawings/vmlDrawing4.vml"/><Relationship Id="rId6" Type="http://schemas.openxmlformats.org/officeDocument/2006/relationships/tags" Target="../tags/tag36.xml"/><Relationship Id="rId11" Type="http://schemas.openxmlformats.org/officeDocument/2006/relationships/image" Target="../media/image1.emf"/><Relationship Id="rId5" Type="http://schemas.openxmlformats.org/officeDocument/2006/relationships/tags" Target="../tags/tag35.xml"/><Relationship Id="rId10" Type="http://schemas.openxmlformats.org/officeDocument/2006/relationships/oleObject" Target="../embeddings/oleObject4.bin"/><Relationship Id="rId4" Type="http://schemas.openxmlformats.org/officeDocument/2006/relationships/tags" Target="../tags/tag34.xml"/><Relationship Id="rId9"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32.xml"/><Relationship Id="rId7" Type="http://schemas.openxmlformats.org/officeDocument/2006/relationships/tags" Target="../tags/tag236.xml"/><Relationship Id="rId2" Type="http://schemas.openxmlformats.org/officeDocument/2006/relationships/tags" Target="../tags/tag231.xml"/><Relationship Id="rId1" Type="http://schemas.openxmlformats.org/officeDocument/2006/relationships/vmlDrawing" Target="../drawings/vmlDrawing32.vml"/><Relationship Id="rId6" Type="http://schemas.openxmlformats.org/officeDocument/2006/relationships/tags" Target="../tags/tag235.xml"/><Relationship Id="rId5" Type="http://schemas.openxmlformats.org/officeDocument/2006/relationships/tags" Target="../tags/tag234.xml"/><Relationship Id="rId10" Type="http://schemas.openxmlformats.org/officeDocument/2006/relationships/image" Target="../media/image2.emf"/><Relationship Id="rId4" Type="http://schemas.openxmlformats.org/officeDocument/2006/relationships/tags" Target="../tags/tag233.xml"/><Relationship Id="rId9" Type="http://schemas.openxmlformats.org/officeDocument/2006/relationships/oleObject" Target="../embeddings/oleObject32.bin"/></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38.xml"/><Relationship Id="rId7" Type="http://schemas.openxmlformats.org/officeDocument/2006/relationships/oleObject" Target="../embeddings/oleObject33.bin"/><Relationship Id="rId2" Type="http://schemas.openxmlformats.org/officeDocument/2006/relationships/tags" Target="../tags/tag237.xml"/><Relationship Id="rId1" Type="http://schemas.openxmlformats.org/officeDocument/2006/relationships/vmlDrawing" Target="../drawings/vmlDrawing33.vml"/><Relationship Id="rId6" Type="http://schemas.openxmlformats.org/officeDocument/2006/relationships/slideMaster" Target="../slideMasters/slideMaster2.xml"/><Relationship Id="rId5" Type="http://schemas.openxmlformats.org/officeDocument/2006/relationships/tags" Target="../tags/tag240.xml"/><Relationship Id="rId4" Type="http://schemas.openxmlformats.org/officeDocument/2006/relationships/tags" Target="../tags/tag239.xml"/></Relationships>
</file>

<file path=ppt/slideLayouts/_rels/slideLayout32.xml.rels><?xml version="1.0" encoding="UTF-8" standalone="yes"?>
<Relationships xmlns="http://schemas.openxmlformats.org/package/2006/relationships"><Relationship Id="rId8" Type="http://schemas.microsoft.com/office/2007/relationships/hdphoto" Target="../media/hdphoto1.wdp"/><Relationship Id="rId13" Type="http://schemas.microsoft.com/office/2007/relationships/hdphoto" Target="../media/hdphoto3.wdp"/><Relationship Id="rId3" Type="http://schemas.openxmlformats.org/officeDocument/2006/relationships/tags" Target="../tags/tag242.xml"/><Relationship Id="rId7" Type="http://schemas.openxmlformats.org/officeDocument/2006/relationships/image" Target="../media/image10.png"/><Relationship Id="rId12" Type="http://schemas.openxmlformats.org/officeDocument/2006/relationships/image" Target="../media/image12.png"/><Relationship Id="rId2" Type="http://schemas.openxmlformats.org/officeDocument/2006/relationships/tags" Target="../tags/tag241.xml"/><Relationship Id="rId1" Type="http://schemas.openxmlformats.org/officeDocument/2006/relationships/vmlDrawing" Target="../drawings/vmlDrawing34.vml"/><Relationship Id="rId6" Type="http://schemas.openxmlformats.org/officeDocument/2006/relationships/image" Target="../media/image2.emf"/><Relationship Id="rId11" Type="http://schemas.microsoft.com/office/2007/relationships/hdphoto" Target="../media/hdphoto2.wdp"/><Relationship Id="rId5" Type="http://schemas.openxmlformats.org/officeDocument/2006/relationships/oleObject" Target="../embeddings/oleObject34.bin"/><Relationship Id="rId10" Type="http://schemas.openxmlformats.org/officeDocument/2006/relationships/image" Target="../media/image11.png"/><Relationship Id="rId4" Type="http://schemas.openxmlformats.org/officeDocument/2006/relationships/slideMaster" Target="../slideMasters/slideMaster2.xml"/><Relationship Id="rId9"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244.xml"/><Relationship Id="rId7" Type="http://schemas.openxmlformats.org/officeDocument/2006/relationships/slideMaster" Target="../slideMasters/slideMaster2.xml"/><Relationship Id="rId12" Type="http://schemas.openxmlformats.org/officeDocument/2006/relationships/image" Target="../media/image5.png"/><Relationship Id="rId2" Type="http://schemas.openxmlformats.org/officeDocument/2006/relationships/tags" Target="../tags/tag243.xml"/><Relationship Id="rId1" Type="http://schemas.openxmlformats.org/officeDocument/2006/relationships/vmlDrawing" Target="../drawings/vmlDrawing35.vml"/><Relationship Id="rId6" Type="http://schemas.openxmlformats.org/officeDocument/2006/relationships/tags" Target="../tags/tag247.xml"/><Relationship Id="rId11" Type="http://schemas.openxmlformats.org/officeDocument/2006/relationships/image" Target="../media/image4.png"/><Relationship Id="rId5" Type="http://schemas.openxmlformats.org/officeDocument/2006/relationships/tags" Target="../tags/tag246.xml"/><Relationship Id="rId10" Type="http://schemas.openxmlformats.org/officeDocument/2006/relationships/image" Target="../media/image3.png"/><Relationship Id="rId4" Type="http://schemas.openxmlformats.org/officeDocument/2006/relationships/tags" Target="../tags/tag245.xml"/><Relationship Id="rId9"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54.xml"/><Relationship Id="rId3" Type="http://schemas.openxmlformats.org/officeDocument/2006/relationships/tags" Target="../tags/tag249.xml"/><Relationship Id="rId7" Type="http://schemas.openxmlformats.org/officeDocument/2006/relationships/tags" Target="../tags/tag253.xml"/><Relationship Id="rId2" Type="http://schemas.openxmlformats.org/officeDocument/2006/relationships/tags" Target="../tags/tag248.xml"/><Relationship Id="rId1" Type="http://schemas.openxmlformats.org/officeDocument/2006/relationships/vmlDrawing" Target="../drawings/vmlDrawing36.vml"/><Relationship Id="rId6" Type="http://schemas.openxmlformats.org/officeDocument/2006/relationships/tags" Target="../tags/tag252.xml"/><Relationship Id="rId11" Type="http://schemas.openxmlformats.org/officeDocument/2006/relationships/image" Target="../media/image1.emf"/><Relationship Id="rId5" Type="http://schemas.openxmlformats.org/officeDocument/2006/relationships/tags" Target="../tags/tag251.xml"/><Relationship Id="rId10" Type="http://schemas.openxmlformats.org/officeDocument/2006/relationships/oleObject" Target="../embeddings/oleObject36.bin"/><Relationship Id="rId4" Type="http://schemas.openxmlformats.org/officeDocument/2006/relationships/tags" Target="../tags/tag250.xml"/><Relationship Id="rId9"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61.xml"/><Relationship Id="rId3" Type="http://schemas.openxmlformats.org/officeDocument/2006/relationships/tags" Target="../tags/tag256.xml"/><Relationship Id="rId7" Type="http://schemas.openxmlformats.org/officeDocument/2006/relationships/tags" Target="../tags/tag260.xml"/><Relationship Id="rId12" Type="http://schemas.openxmlformats.org/officeDocument/2006/relationships/image" Target="../media/image1.emf"/><Relationship Id="rId2" Type="http://schemas.openxmlformats.org/officeDocument/2006/relationships/tags" Target="../tags/tag255.xml"/><Relationship Id="rId1" Type="http://schemas.openxmlformats.org/officeDocument/2006/relationships/vmlDrawing" Target="../drawings/vmlDrawing37.vml"/><Relationship Id="rId6" Type="http://schemas.openxmlformats.org/officeDocument/2006/relationships/tags" Target="../tags/tag259.xml"/><Relationship Id="rId11" Type="http://schemas.openxmlformats.org/officeDocument/2006/relationships/oleObject" Target="../embeddings/oleObject37.bin"/><Relationship Id="rId5" Type="http://schemas.openxmlformats.org/officeDocument/2006/relationships/tags" Target="../tags/tag258.xml"/><Relationship Id="rId10" Type="http://schemas.openxmlformats.org/officeDocument/2006/relationships/slideMaster" Target="../slideMasters/slideMaster2.xml"/><Relationship Id="rId4" Type="http://schemas.openxmlformats.org/officeDocument/2006/relationships/tags" Target="../tags/tag257.xml"/><Relationship Id="rId9" Type="http://schemas.openxmlformats.org/officeDocument/2006/relationships/tags" Target="../tags/tag26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2.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2.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5" Type="http://schemas.openxmlformats.org/officeDocument/2006/relationships/tags" Target="../tags/tag54.xml"/><Relationship Id="rId10" Type="http://schemas.openxmlformats.org/officeDocument/2006/relationships/image" Target="../media/image2.emf"/><Relationship Id="rId4" Type="http://schemas.openxmlformats.org/officeDocument/2006/relationships/tags" Target="../tags/tag53.xml"/><Relationship Id="rId9"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3.xml"/><Relationship Id="rId3" Type="http://schemas.openxmlformats.org/officeDocument/2006/relationships/tags" Target="../tags/tag58.xml"/><Relationship Id="rId7" Type="http://schemas.openxmlformats.org/officeDocument/2006/relationships/tags" Target="../tags/tag62.xml"/><Relationship Id="rId2" Type="http://schemas.openxmlformats.org/officeDocument/2006/relationships/tags" Target="../tags/tag57.xml"/><Relationship Id="rId1" Type="http://schemas.openxmlformats.org/officeDocument/2006/relationships/vmlDrawing" Target="../drawings/vmlDrawing8.vml"/><Relationship Id="rId6" Type="http://schemas.openxmlformats.org/officeDocument/2006/relationships/tags" Target="../tags/tag61.xml"/><Relationship Id="rId11" Type="http://schemas.openxmlformats.org/officeDocument/2006/relationships/image" Target="../media/image2.emf"/><Relationship Id="rId5" Type="http://schemas.openxmlformats.org/officeDocument/2006/relationships/tags" Target="../tags/tag60.xml"/><Relationship Id="rId10" Type="http://schemas.openxmlformats.org/officeDocument/2006/relationships/oleObject" Target="../embeddings/oleObject8.bin"/><Relationship Id="rId4" Type="http://schemas.openxmlformats.org/officeDocument/2006/relationships/tags" Target="../tags/tag59.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9.vml"/><Relationship Id="rId6" Type="http://schemas.openxmlformats.org/officeDocument/2006/relationships/tags" Target="../tags/tag68.xml"/><Relationship Id="rId11" Type="http://schemas.openxmlformats.org/officeDocument/2006/relationships/oleObject" Target="../embeddings/oleObject9.bin"/><Relationship Id="rId5" Type="http://schemas.openxmlformats.org/officeDocument/2006/relationships/tags" Target="../tags/tag67.xml"/><Relationship Id="rId10" Type="http://schemas.openxmlformats.org/officeDocument/2006/relationships/slideMaster" Target="../slideMasters/slideMaster1.xml"/><Relationship Id="rId4" Type="http://schemas.openxmlformats.org/officeDocument/2006/relationships/tags" Target="../tags/tag66.xml"/><Relationship Id="rId9" Type="http://schemas.openxmlformats.org/officeDocument/2006/relationships/tags" Target="../tags/tag7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78.xml"/><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10.vml"/><Relationship Id="rId6" Type="http://schemas.openxmlformats.org/officeDocument/2006/relationships/tags" Target="../tags/tag76.xml"/><Relationship Id="rId11" Type="http://schemas.openxmlformats.org/officeDocument/2006/relationships/oleObject" Target="../embeddings/oleObject10.bin"/><Relationship Id="rId5" Type="http://schemas.openxmlformats.org/officeDocument/2006/relationships/tags" Target="../tags/tag75.xml"/><Relationship Id="rId10" Type="http://schemas.openxmlformats.org/officeDocument/2006/relationships/slideMaster" Target="../slideMasters/slideMaster1.xml"/><Relationship Id="rId4" Type="http://schemas.openxmlformats.org/officeDocument/2006/relationships/tags" Target="../tags/tag74.xml"/><Relationship Id="rId9" Type="http://schemas.openxmlformats.org/officeDocument/2006/relationships/tags" Target="../tags/tag7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950685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57"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0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6" name="Rectangle 1">
            <a:extLst>
              <a:ext uri="{FF2B5EF4-FFF2-40B4-BE49-F238E27FC236}">
                <a16:creationId xmlns:a16="http://schemas.microsoft.com/office/drawing/2014/main" id="{A1A028A7-4594-434B-BE6F-BEA80B344467}"/>
              </a:ext>
            </a:extLst>
          </p:cNvPr>
          <p:cNvSpPr/>
          <p:nvPr userDrawn="1"/>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pic>
        <p:nvPicPr>
          <p:cNvPr id="27" name="Picture 19" descr="Gavi-logo - The Rockefeller Foundation">
            <a:extLst>
              <a:ext uri="{FF2B5EF4-FFF2-40B4-BE49-F238E27FC236}">
                <a16:creationId xmlns:a16="http://schemas.microsoft.com/office/drawing/2014/main" id="{82C6EE3B-2CF9-47B1-A455-56535EBCAFDF}"/>
              </a:ext>
            </a:extLst>
          </p:cNvPr>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r="-945"/>
          <a:stretch/>
        </p:blipFill>
        <p:spPr bwMode="ltGray">
          <a:xfrm>
            <a:off x="2594762" y="684581"/>
            <a:ext cx="1601001" cy="594755"/>
          </a:xfrm>
          <a:prstGeom prst="rect">
            <a:avLst/>
          </a:prstGeom>
          <a:extLst>
            <a:ext uri="{909E8E84-426E-40DD-AFC4-6F175D3DCCD1}">
              <a14:hiddenFill xmlns:a14="http://schemas.microsoft.com/office/drawing/2010/main">
                <a:solidFill>
                  <a:srgbClr val="FFFFFF"/>
                </a:solidFill>
              </a14:hiddenFill>
            </a:ext>
          </a:extLst>
        </p:spPr>
      </p:pic>
      <p:pic>
        <p:nvPicPr>
          <p:cNvPr id="28" name="Picture 27" descr="World Health Organization (WHO) – Logos Download">
            <a:extLst>
              <a:ext uri="{FF2B5EF4-FFF2-40B4-BE49-F238E27FC236}">
                <a16:creationId xmlns:a16="http://schemas.microsoft.com/office/drawing/2014/main" id="{73C44A5D-E65B-4EA7-A8DE-923C1E1D2E6A}"/>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ltGray">
          <a:xfrm>
            <a:off x="4768936" y="651284"/>
            <a:ext cx="2241464" cy="661348"/>
          </a:xfrm>
          <a:prstGeom prst="rect">
            <a:avLst/>
          </a:prstGeom>
          <a:extLst>
            <a:ext uri="{909E8E84-426E-40DD-AFC4-6F175D3DCCD1}">
              <a14:hiddenFill xmlns:a14="http://schemas.microsoft.com/office/drawing/2010/main">
                <a:solidFill>
                  <a:srgbClr val="FFFFFF"/>
                </a:solidFill>
              </a14:hiddenFill>
            </a:ext>
          </a:extLst>
        </p:spPr>
      </p:pic>
      <p:pic>
        <p:nvPicPr>
          <p:cNvPr id="29" name="Picture 23" descr="Coalition for Epidemic Preparedness Innovations - Wikiwand">
            <a:extLst>
              <a:ext uri="{FF2B5EF4-FFF2-40B4-BE49-F238E27FC236}">
                <a16:creationId xmlns:a16="http://schemas.microsoft.com/office/drawing/2014/main" id="{41612DC1-CABB-4EC3-A0BE-DAF64FFA2904}"/>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ltGray">
          <a:xfrm>
            <a:off x="525802" y="764281"/>
            <a:ext cx="1480798" cy="435355"/>
          </a:xfrm>
          <a:prstGeom prst="rect">
            <a:avLst/>
          </a:prstGeom>
          <a:extLst>
            <a:ext uri="{909E8E84-426E-40DD-AFC4-6F175D3DCCD1}">
              <a14:hiddenFill xmlns:a14="http://schemas.microsoft.com/office/drawing/2010/main">
                <a:solidFill>
                  <a:srgbClr val="FFFFFF"/>
                </a:solidFill>
              </a14:hiddenFill>
            </a:ext>
          </a:extLst>
        </p:spPr>
      </p:pic>
      <p:sp>
        <p:nvSpPr>
          <p:cNvPr id="30" name="Right Triangle 29">
            <a:extLst>
              <a:ext uri="{FF2B5EF4-FFF2-40B4-BE49-F238E27FC236}">
                <a16:creationId xmlns:a16="http://schemas.microsoft.com/office/drawing/2014/main" id="{79028CEE-2D24-4687-A0D5-F56AB2C502E7}"/>
              </a:ext>
            </a:extLst>
          </p:cNvPr>
          <p:cNvSpPr/>
          <p:nvPr userDrawn="1"/>
        </p:nvSpPr>
        <p:spPr bwMode="ltGray">
          <a:xfrm flipH="1" flipV="1">
            <a:off x="7366000" y="0"/>
            <a:ext cx="4826000" cy="4826000"/>
          </a:xfrm>
          <a:prstGeom prst="r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ight Triangle 30">
            <a:extLst>
              <a:ext uri="{FF2B5EF4-FFF2-40B4-BE49-F238E27FC236}">
                <a16:creationId xmlns:a16="http://schemas.microsoft.com/office/drawing/2014/main" id="{DCB4FFCD-79D8-42F6-A6E0-BBB1AEBD54DD}"/>
              </a:ext>
            </a:extLst>
          </p:cNvPr>
          <p:cNvSpPr/>
          <p:nvPr userDrawn="1"/>
        </p:nvSpPr>
        <p:spPr bwMode="ltGray">
          <a:xfrm flipH="1" flipV="1">
            <a:off x="7532005" y="0"/>
            <a:ext cx="4659995" cy="4659995"/>
          </a:xfrm>
          <a:prstGeom prst="rtTriangle">
            <a:avLst/>
          </a:prstGeom>
          <a:solidFill>
            <a:srgbClr val="4D4D4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ight Triangle 31">
            <a:extLst>
              <a:ext uri="{FF2B5EF4-FFF2-40B4-BE49-F238E27FC236}">
                <a16:creationId xmlns:a16="http://schemas.microsoft.com/office/drawing/2014/main" id="{452C86B2-6A22-4FFD-B37E-8B8AAD682D4E}"/>
              </a:ext>
            </a:extLst>
          </p:cNvPr>
          <p:cNvSpPr/>
          <p:nvPr userDrawn="1"/>
        </p:nvSpPr>
        <p:spPr bwMode="ltGray">
          <a:xfrm>
            <a:off x="0" y="5003800"/>
            <a:ext cx="1854200" cy="1854200"/>
          </a:xfrm>
          <a:prstGeom prst="r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25801" y="4648511"/>
            <a:ext cx="81779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25801" y="4150556"/>
            <a:ext cx="81779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25801" y="2113720"/>
            <a:ext cx="8177931"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006059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3004" name="think-cell Slide" r:id="rId11" imgW="413" imgH="416" progId="TCLayout.ActiveDocument.1">
                  <p:embed/>
                </p:oleObj>
              </mc:Choice>
              <mc:Fallback>
                <p:oleObj name="think-cell Slide" r:id="rId11" imgW="413" imgH="41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69332"/>
          </a:xfrm>
        </p:spPr>
        <p:txBody>
          <a:bodyPr>
            <a:spAutoFit/>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Oval 10">
            <a:extLst>
              <a:ext uri="{FF2B5EF4-FFF2-40B4-BE49-F238E27FC236}">
                <a16:creationId xmlns:a16="http://schemas.microsoft.com/office/drawing/2014/main" id="{5C4E05E8-936F-4033-8E28-43D9D217055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a:latin typeface="Georgia" panose="02040502050405020303" pitchFamily="18" charset="0"/>
              <a:sym typeface="Georgia" panose="02040502050405020303" pitchFamily="18"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cs typeface="Arial" panose="020B0604020202020204" pitchFamily="34" charset="0"/>
              </a:rPr>
              <a:pPr lvl="0" algn="ctr" defTabSz="610744" fontAlgn="auto">
                <a:spcBef>
                  <a:spcPts val="0"/>
                </a:spcBef>
                <a:spcAft>
                  <a:spcPts val="0"/>
                </a:spcAft>
              </a:pPr>
              <a:t>‹#›</a:t>
            </a:fld>
            <a:endParaRPr lang="en-US" sz="900" b="0" dirty="0">
              <a:cs typeface="Arial" panose="020B0604020202020204" pitchFamily="34" charset="0"/>
            </a:endParaRPr>
          </a:p>
        </p:txBody>
      </p:sp>
    </p:spTree>
    <p:extLst>
      <p:ext uri="{BB962C8B-B14F-4D97-AF65-F5344CB8AC3E}">
        <p14:creationId xmlns:p14="http://schemas.microsoft.com/office/powerpoint/2010/main" val="6054678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385581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878" name="think-cell Slide" r:id="rId11" imgW="572" imgH="588" progId="TCLayout.ActiveDocument.1">
                  <p:embed/>
                </p:oleObj>
              </mc:Choice>
              <mc:Fallback>
                <p:oleObj name="think-cell Slide" r:id="rId11" imgW="572" imgH="588"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69332"/>
          </a:xfrm>
        </p:spPr>
        <p:txBody>
          <a:bodyPr>
            <a:spAutoFit/>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72142"/>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6" y="6498754"/>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Oval 10">
            <a:extLst>
              <a:ext uri="{FF2B5EF4-FFF2-40B4-BE49-F238E27FC236}">
                <a16:creationId xmlns:a16="http://schemas.microsoft.com/office/drawing/2014/main" id="{5BD8C3CA-1B4B-440A-89B5-F939DD2975DE}"/>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a:latin typeface="Georgia" panose="02040502050405020303" pitchFamily="18" charset="0"/>
              <a:sym typeface="Georgia" panose="02040502050405020303" pitchFamily="18"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cs typeface="Arial" panose="020B0604020202020204" pitchFamily="34" charset="0"/>
              </a:rPr>
              <a:pPr lvl="0" algn="ctr" defTabSz="610744" fontAlgn="auto">
                <a:spcBef>
                  <a:spcPts val="0"/>
                </a:spcBef>
                <a:spcAft>
                  <a:spcPts val="0"/>
                </a:spcAft>
              </a:pPr>
              <a:t>‹#›</a:t>
            </a:fld>
            <a:endParaRPr lang="en-US" sz="900" b="0" dirty="0">
              <a:cs typeface="Arial" panose="020B0604020202020204" pitchFamily="34" charset="0"/>
            </a:endParaRPr>
          </a:p>
        </p:txBody>
      </p:sp>
    </p:spTree>
    <p:extLst>
      <p:ext uri="{BB962C8B-B14F-4D97-AF65-F5344CB8AC3E}">
        <p14:creationId xmlns:p14="http://schemas.microsoft.com/office/powerpoint/2010/main" val="39113909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858490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768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69332"/>
          </a:xfrm>
        </p:spPr>
        <p:txBody>
          <a:bodyPr>
            <a:spAutoFit/>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Oval 10">
            <a:extLst>
              <a:ext uri="{FF2B5EF4-FFF2-40B4-BE49-F238E27FC236}">
                <a16:creationId xmlns:a16="http://schemas.microsoft.com/office/drawing/2014/main" id="{97F1AC84-6DFB-4987-8CB6-D62E3F5563A0}"/>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a:latin typeface="Georgia" panose="02040502050405020303" pitchFamily="18" charset="0"/>
              <a:sym typeface="Georgia" panose="02040502050405020303" pitchFamily="18"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noProof="0" smtClean="0">
                <a:cs typeface="Arial" panose="020B0604020202020204" pitchFamily="34" charset="0"/>
              </a:rPr>
              <a:pPr lvl="0" algn="ctr" defTabSz="610744" fontAlgn="auto">
                <a:spcBef>
                  <a:spcPts val="0"/>
                </a:spcBef>
                <a:spcAft>
                  <a:spcPts val="0"/>
                </a:spcAft>
              </a:pPr>
              <a:t>‹#›</a:t>
            </a:fld>
            <a:endParaRPr lang="en-US" sz="900" b="0" noProof="0" dirty="0">
              <a:cs typeface="Arial" panose="020B0604020202020204" pitchFamily="34" charset="0"/>
            </a:endParaRPr>
          </a:p>
        </p:txBody>
      </p:sp>
    </p:spTree>
    <p:extLst>
      <p:ext uri="{BB962C8B-B14F-4D97-AF65-F5344CB8AC3E}">
        <p14:creationId xmlns:p14="http://schemas.microsoft.com/office/powerpoint/2010/main" val="14708615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533631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771"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cs typeface="Arial" panose="020B0604020202020204" pitchFamily="34" charset="0"/>
              </a:rPr>
              <a:pPr lvl="0" algn="ctr" defTabSz="610744" fontAlgn="auto">
                <a:spcBef>
                  <a:spcPts val="0"/>
                </a:spcBef>
                <a:spcAft>
                  <a:spcPts val="0"/>
                </a:spcAft>
              </a:pPr>
              <a:t>‹#›</a:t>
            </a:fld>
            <a:endParaRPr lang="en-US" sz="900" b="0" dirty="0">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2212"/>
            <a:ext cx="11082528" cy="36933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9774993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6795" name="think-cell Slide" r:id="rId7" imgW="592" imgH="591" progId="TCLayout.ActiveDocument.1">
                  <p:embed/>
                </p:oleObj>
              </mc:Choice>
              <mc:Fallback>
                <p:oleObj name="think-cell Slide" r:id="rId7" imgW="592" imgH="591"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cs typeface="Arial" panose="020B0604020202020204" pitchFamily="34" charset="0"/>
              </a:rPr>
              <a:pPr lvl="0" algn="ctr" defTabSz="610744" fontAlgn="auto">
                <a:spcBef>
                  <a:spcPts val="0"/>
                </a:spcBef>
                <a:spcAft>
                  <a:spcPts val="0"/>
                </a:spcAft>
              </a:pPr>
              <a:t>‹#›</a:t>
            </a:fld>
            <a:endParaRPr lang="en-US" sz="900" b="0" dirty="0">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863007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3356163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2938"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grpSp>
        <p:nvGrpSpPr>
          <p:cNvPr id="3" name="Group 2">
            <a:extLst>
              <a:ext uri="{FF2B5EF4-FFF2-40B4-BE49-F238E27FC236}">
                <a16:creationId xmlns:a16="http://schemas.microsoft.com/office/drawing/2014/main" id="{D53430D4-7C5D-4CF9-BDBD-E1A8EECB92C4}"/>
              </a:ext>
            </a:extLst>
          </p:cNvPr>
          <p:cNvGrpSpPr/>
          <p:nvPr userDrawn="1"/>
        </p:nvGrpSpPr>
        <p:grpSpPr>
          <a:xfrm>
            <a:off x="2751423" y="3068149"/>
            <a:ext cx="6689154" cy="721703"/>
            <a:chOff x="5138582" y="5814433"/>
            <a:chExt cx="6689154" cy="721703"/>
          </a:xfrm>
        </p:grpSpPr>
        <p:pic>
          <p:nvPicPr>
            <p:cNvPr id="5" name="Picture 19" descr="Gavi-logo - The Rockefeller Foundation">
              <a:extLst>
                <a:ext uri="{FF2B5EF4-FFF2-40B4-BE49-F238E27FC236}">
                  <a16:creationId xmlns:a16="http://schemas.microsoft.com/office/drawing/2014/main" id="{0154AF5A-AF00-4CDA-AA01-149030E622D6}"/>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179667" y="5839123"/>
              <a:ext cx="1792858" cy="67232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World Health Organization (WHO) – Logos Download">
              <a:extLst>
                <a:ext uri="{FF2B5EF4-FFF2-40B4-BE49-F238E27FC236}">
                  <a16:creationId xmlns:a16="http://schemas.microsoft.com/office/drawing/2014/main" id="{68131BD8-6DEE-4EC5-A661-84E44336A75B}"/>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381716" y="5814433"/>
              <a:ext cx="2446020" cy="72170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3" descr="Coalition for Epidemic Preparedness Innovations - Wikiwand">
              <a:extLst>
                <a:ext uri="{FF2B5EF4-FFF2-40B4-BE49-F238E27FC236}">
                  <a16:creationId xmlns:a16="http://schemas.microsoft.com/office/drawing/2014/main" id="{80F97074-D4FF-49B2-813C-6FDB4CA6DE93}"/>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5138582" y="5935396"/>
              <a:ext cx="1631894" cy="47977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664705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Contrast Titl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2"/>
            </p:custDataLst>
            <p:extLst>
              <p:ext uri="{D42A27DB-BD31-4B8C-83A1-F6EECF244321}">
                <p14:modId xmlns:p14="http://schemas.microsoft.com/office/powerpoint/2010/main" val="636342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6250"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27FBC14-72DC-4109-B1FE-500CF7DD3601}"/>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000" b="1" i="0" baseline="0" dirty="0" err="1">
              <a:solidFill>
                <a:schemeClr val="bg1"/>
              </a:solidFill>
              <a:latin typeface="Arial" panose="020B0604020202020204" pitchFamily="34" charset="0"/>
              <a:ea typeface="+mj-ea"/>
              <a:cs typeface="+mj-cs"/>
              <a:sym typeface="Arial" panose="020B0604020202020204" pitchFamily="34" charset="0"/>
            </a:endParaRPr>
          </a:p>
        </p:txBody>
      </p:sp>
      <p:grpSp>
        <p:nvGrpSpPr>
          <p:cNvPr id="36" name="Rectangle 1">
            <a:extLst>
              <a:ext uri="{FF2B5EF4-FFF2-40B4-BE49-F238E27FC236}">
                <a16:creationId xmlns:a16="http://schemas.microsoft.com/office/drawing/2014/main" id="{94DF31DE-F1E4-4F2E-97D8-6B4AD916ADA7}"/>
              </a:ext>
            </a:extLst>
          </p:cNvPr>
          <p:cNvGrpSpPr/>
          <p:nvPr userDrawn="1"/>
        </p:nvGrpSpPr>
        <p:grpSpPr bwMode="ltGray">
          <a:xfrm>
            <a:off x="0" y="0"/>
            <a:ext cx="12192000" cy="6858000"/>
            <a:chOff x="0" y="0"/>
            <a:chExt cx="12192000" cy="6858000"/>
          </a:xfrm>
        </p:grpSpPr>
        <p:sp>
          <p:nvSpPr>
            <p:cNvPr id="37" name="Rectangle 1">
              <a:extLst>
                <a:ext uri="{FF2B5EF4-FFF2-40B4-BE49-F238E27FC236}">
                  <a16:creationId xmlns:a16="http://schemas.microsoft.com/office/drawing/2014/main" id="{F2D3B4A2-0A0E-4A6A-A878-1624C4666D5A}"/>
                </a:ext>
              </a:extLst>
            </p:cNvPr>
            <p:cNvSpPr/>
            <p:nvPr/>
          </p:nvSpPr>
          <p:spPr bwMode="ltGray">
            <a:xfrm>
              <a:off x="0" y="0"/>
              <a:ext cx="12192000" cy="6858000"/>
            </a:xfrm>
            <a:prstGeom prst="rect">
              <a:avLst/>
            </a:prstGeom>
            <a:solidFill>
              <a:srgbClr val="4D4D4D"/>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600" b="0" i="0" u="none" strike="noStrike" kern="0" cap="none" spc="0" normalizeH="0" baseline="0" noProof="0">
                <a:ln>
                  <a:noFill/>
                </a:ln>
                <a:solidFill>
                  <a:srgbClr val="000000"/>
                </a:solidFill>
                <a:effectLst/>
                <a:uLnTx/>
                <a:uFillTx/>
                <a:latin typeface="Arial"/>
                <a:ea typeface="+mn-ea"/>
                <a:cs typeface="+mn-cs"/>
              </a:endParaRPr>
            </a:p>
          </p:txBody>
        </p:sp>
        <p:sp>
          <p:nvSpPr>
            <p:cNvPr id="38" name="Freeform: Shape 37">
              <a:extLst>
                <a:ext uri="{FF2B5EF4-FFF2-40B4-BE49-F238E27FC236}">
                  <a16:creationId xmlns:a16="http://schemas.microsoft.com/office/drawing/2014/main" id="{AB17E30B-DED4-4D4B-8273-25B3E7A1CB98}"/>
                </a:ext>
              </a:extLst>
            </p:cNvPr>
            <p:cNvSpPr/>
            <p:nvPr/>
          </p:nvSpPr>
          <p:spPr bwMode="ltGray">
            <a:xfrm flipH="1">
              <a:off x="328939" y="0"/>
              <a:ext cx="11863054" cy="6858000"/>
            </a:xfrm>
            <a:custGeom>
              <a:avLst/>
              <a:gdLst>
                <a:gd name="connsiteX0" fmla="*/ 2186275 w 11863054"/>
                <a:gd name="connsiteY0" fmla="*/ 4880651 h 6858000"/>
                <a:gd name="connsiteX1" fmla="*/ 2466727 w 11863054"/>
                <a:gd name="connsiteY1" fmla="*/ 5366539 h 6858000"/>
                <a:gd name="connsiteX2" fmla="*/ 2186109 w 11863054"/>
                <a:gd name="connsiteY2" fmla="*/ 5852538 h 6858000"/>
                <a:gd name="connsiteX3" fmla="*/ 1624817 w 11863054"/>
                <a:gd name="connsiteY3" fmla="*/ 5852538 h 6858000"/>
                <a:gd name="connsiteX4" fmla="*/ 1344198 w 11863054"/>
                <a:gd name="connsiteY4" fmla="*/ 5366539 h 6858000"/>
                <a:gd name="connsiteX5" fmla="*/ 1624650 w 11863054"/>
                <a:gd name="connsiteY5" fmla="*/ 4880651 h 6858000"/>
                <a:gd name="connsiteX6" fmla="*/ 2185887 w 11863054"/>
                <a:gd name="connsiteY6" fmla="*/ 3891755 h 6858000"/>
                <a:gd name="connsiteX7" fmla="*/ 2466505 w 11863054"/>
                <a:gd name="connsiteY7" fmla="*/ 4377921 h 6858000"/>
                <a:gd name="connsiteX8" fmla="*/ 2186053 w 11863054"/>
                <a:gd name="connsiteY8" fmla="*/ 4863753 h 6858000"/>
                <a:gd name="connsiteX9" fmla="*/ 1624539 w 11863054"/>
                <a:gd name="connsiteY9" fmla="*/ 4863753 h 6858000"/>
                <a:gd name="connsiteX10" fmla="*/ 1343977 w 11863054"/>
                <a:gd name="connsiteY10" fmla="*/ 4377921 h 6858000"/>
                <a:gd name="connsiteX11" fmla="*/ 1624650 w 11863054"/>
                <a:gd name="connsiteY11" fmla="*/ 3891755 h 6858000"/>
                <a:gd name="connsiteX12" fmla="*/ 3898518 w 11863054"/>
                <a:gd name="connsiteY12" fmla="*/ 3891700 h 6858000"/>
                <a:gd name="connsiteX13" fmla="*/ 4179137 w 11863054"/>
                <a:gd name="connsiteY13" fmla="*/ 4377644 h 6858000"/>
                <a:gd name="connsiteX14" fmla="*/ 3898518 w 11863054"/>
                <a:gd name="connsiteY14" fmla="*/ 4863642 h 6858000"/>
                <a:gd name="connsiteX15" fmla="*/ 3337226 w 11863054"/>
                <a:gd name="connsiteY15" fmla="*/ 4863642 h 6858000"/>
                <a:gd name="connsiteX16" fmla="*/ 3056718 w 11863054"/>
                <a:gd name="connsiteY16" fmla="*/ 4377644 h 6858000"/>
                <a:gd name="connsiteX17" fmla="*/ 3337337 w 11863054"/>
                <a:gd name="connsiteY17" fmla="*/ 3891700 h 6858000"/>
                <a:gd name="connsiteX18" fmla="*/ 4755000 w 11863054"/>
                <a:gd name="connsiteY18" fmla="*/ 3397502 h 6858000"/>
                <a:gd name="connsiteX19" fmla="*/ 5035508 w 11863054"/>
                <a:gd name="connsiteY19" fmla="*/ 3883389 h 6858000"/>
                <a:gd name="connsiteX20" fmla="*/ 4754778 w 11863054"/>
                <a:gd name="connsiteY20" fmla="*/ 4369444 h 6858000"/>
                <a:gd name="connsiteX21" fmla="*/ 4193652 w 11863054"/>
                <a:gd name="connsiteY21" fmla="*/ 4369444 h 6858000"/>
                <a:gd name="connsiteX22" fmla="*/ 3912978 w 11863054"/>
                <a:gd name="connsiteY22" fmla="*/ 3883223 h 6858000"/>
                <a:gd name="connsiteX23" fmla="*/ 4193541 w 11863054"/>
                <a:gd name="connsiteY23" fmla="*/ 3397502 h 6858000"/>
                <a:gd name="connsiteX24" fmla="*/ 3042147 w 11863054"/>
                <a:gd name="connsiteY24" fmla="*/ 3397391 h 6858000"/>
                <a:gd name="connsiteX25" fmla="*/ 3322710 w 11863054"/>
                <a:gd name="connsiteY25" fmla="*/ 3883389 h 6858000"/>
                <a:gd name="connsiteX26" fmla="*/ 3042147 w 11863054"/>
                <a:gd name="connsiteY26" fmla="*/ 4369444 h 6858000"/>
                <a:gd name="connsiteX27" fmla="*/ 2480966 w 11863054"/>
                <a:gd name="connsiteY27" fmla="*/ 4369444 h 6858000"/>
                <a:gd name="connsiteX28" fmla="*/ 2200292 w 11863054"/>
                <a:gd name="connsiteY28" fmla="*/ 3883389 h 6858000"/>
                <a:gd name="connsiteX29" fmla="*/ 2480911 w 11863054"/>
                <a:gd name="connsiteY29" fmla="*/ 3397391 h 6858000"/>
                <a:gd name="connsiteX30" fmla="*/ 3898186 w 11863054"/>
                <a:gd name="connsiteY30" fmla="*/ 2902970 h 6858000"/>
                <a:gd name="connsiteX31" fmla="*/ 4178860 w 11863054"/>
                <a:gd name="connsiteY31" fmla="*/ 3389136 h 6858000"/>
                <a:gd name="connsiteX32" fmla="*/ 3898463 w 11863054"/>
                <a:gd name="connsiteY32" fmla="*/ 3874857 h 6858000"/>
                <a:gd name="connsiteX33" fmla="*/ 3337115 w 11863054"/>
                <a:gd name="connsiteY33" fmla="*/ 3874857 h 6858000"/>
                <a:gd name="connsiteX34" fmla="*/ 3056607 w 11863054"/>
                <a:gd name="connsiteY34" fmla="*/ 3388969 h 6858000"/>
                <a:gd name="connsiteX35" fmla="*/ 3337115 w 11863054"/>
                <a:gd name="connsiteY35" fmla="*/ 2902970 h 6858000"/>
                <a:gd name="connsiteX36" fmla="*/ 5611205 w 11863054"/>
                <a:gd name="connsiteY36" fmla="*/ 2902915 h 6858000"/>
                <a:gd name="connsiteX37" fmla="*/ 5891712 w 11863054"/>
                <a:gd name="connsiteY37" fmla="*/ 3388748 h 6858000"/>
                <a:gd name="connsiteX38" fmla="*/ 5611149 w 11863054"/>
                <a:gd name="connsiteY38" fmla="*/ 3874857 h 6858000"/>
                <a:gd name="connsiteX39" fmla="*/ 5049857 w 11863054"/>
                <a:gd name="connsiteY39" fmla="*/ 3874857 h 6858000"/>
                <a:gd name="connsiteX40" fmla="*/ 4769239 w 11863054"/>
                <a:gd name="connsiteY40" fmla="*/ 3388969 h 6858000"/>
                <a:gd name="connsiteX41" fmla="*/ 5049857 w 11863054"/>
                <a:gd name="connsiteY41" fmla="*/ 2902915 h 6858000"/>
                <a:gd name="connsiteX42" fmla="*/ 1329350 w 11863054"/>
                <a:gd name="connsiteY42" fmla="*/ 2409215 h 6858000"/>
                <a:gd name="connsiteX43" fmla="*/ 1609968 w 11863054"/>
                <a:gd name="connsiteY43" fmla="*/ 2895269 h 6858000"/>
                <a:gd name="connsiteX44" fmla="*/ 1329350 w 11863054"/>
                <a:gd name="connsiteY44" fmla="*/ 3381379 h 6858000"/>
                <a:gd name="connsiteX45" fmla="*/ 768224 w 11863054"/>
                <a:gd name="connsiteY45" fmla="*/ 3381379 h 6858000"/>
                <a:gd name="connsiteX46" fmla="*/ 487716 w 11863054"/>
                <a:gd name="connsiteY46" fmla="*/ 2895546 h 6858000"/>
                <a:gd name="connsiteX47" fmla="*/ 768501 w 11863054"/>
                <a:gd name="connsiteY47" fmla="*/ 2409215 h 6858000"/>
                <a:gd name="connsiteX48" fmla="*/ 3041981 w 11863054"/>
                <a:gd name="connsiteY48" fmla="*/ 2408883 h 6858000"/>
                <a:gd name="connsiteX49" fmla="*/ 3322599 w 11863054"/>
                <a:gd name="connsiteY49" fmla="*/ 2894826 h 6858000"/>
                <a:gd name="connsiteX50" fmla="*/ 3042092 w 11863054"/>
                <a:gd name="connsiteY50" fmla="*/ 3380714 h 6858000"/>
                <a:gd name="connsiteX51" fmla="*/ 2480855 w 11863054"/>
                <a:gd name="connsiteY51" fmla="*/ 3380714 h 6858000"/>
                <a:gd name="connsiteX52" fmla="*/ 2200126 w 11863054"/>
                <a:gd name="connsiteY52" fmla="*/ 2894715 h 6858000"/>
                <a:gd name="connsiteX53" fmla="*/ 2480689 w 11863054"/>
                <a:gd name="connsiteY53" fmla="*/ 2408883 h 6858000"/>
                <a:gd name="connsiteX54" fmla="*/ 4754612 w 11863054"/>
                <a:gd name="connsiteY54" fmla="*/ 2408827 h 6858000"/>
                <a:gd name="connsiteX55" fmla="*/ 5035231 w 11863054"/>
                <a:gd name="connsiteY55" fmla="*/ 2894715 h 6858000"/>
                <a:gd name="connsiteX56" fmla="*/ 4754612 w 11863054"/>
                <a:gd name="connsiteY56" fmla="*/ 3380714 h 6858000"/>
                <a:gd name="connsiteX57" fmla="*/ 4193375 w 11863054"/>
                <a:gd name="connsiteY57" fmla="*/ 3380714 h 6858000"/>
                <a:gd name="connsiteX58" fmla="*/ 3912757 w 11863054"/>
                <a:gd name="connsiteY58" fmla="*/ 2894715 h 6858000"/>
                <a:gd name="connsiteX59" fmla="*/ 4193320 w 11863054"/>
                <a:gd name="connsiteY59" fmla="*/ 2408827 h 6858000"/>
                <a:gd name="connsiteX60" fmla="*/ 6467576 w 11863054"/>
                <a:gd name="connsiteY60" fmla="*/ 2408384 h 6858000"/>
                <a:gd name="connsiteX61" fmla="*/ 6748083 w 11863054"/>
                <a:gd name="connsiteY61" fmla="*/ 2894217 h 6858000"/>
                <a:gd name="connsiteX62" fmla="*/ 6467409 w 11863054"/>
                <a:gd name="connsiteY62" fmla="*/ 3380326 h 6858000"/>
                <a:gd name="connsiteX63" fmla="*/ 5906173 w 11863054"/>
                <a:gd name="connsiteY63" fmla="*/ 3380326 h 6858000"/>
                <a:gd name="connsiteX64" fmla="*/ 5625554 w 11863054"/>
                <a:gd name="connsiteY64" fmla="*/ 2894272 h 6858000"/>
                <a:gd name="connsiteX65" fmla="*/ 5906006 w 11863054"/>
                <a:gd name="connsiteY65" fmla="*/ 2408384 h 6858000"/>
                <a:gd name="connsiteX66" fmla="*/ 2185610 w 11863054"/>
                <a:gd name="connsiteY66" fmla="*/ 1914628 h 6858000"/>
                <a:gd name="connsiteX67" fmla="*/ 2466229 w 11863054"/>
                <a:gd name="connsiteY67" fmla="*/ 2400572 h 6858000"/>
                <a:gd name="connsiteX68" fmla="*/ 2423402 w 11863054"/>
                <a:gd name="connsiteY68" fmla="*/ 2474702 h 6858000"/>
                <a:gd name="connsiteX69" fmla="*/ 2185555 w 11863054"/>
                <a:gd name="connsiteY69" fmla="*/ 2886737 h 6858000"/>
                <a:gd name="connsiteX70" fmla="*/ 1624318 w 11863054"/>
                <a:gd name="connsiteY70" fmla="*/ 2886737 h 6858000"/>
                <a:gd name="connsiteX71" fmla="*/ 1344087 w 11863054"/>
                <a:gd name="connsiteY71" fmla="*/ 2401292 h 6858000"/>
                <a:gd name="connsiteX72" fmla="*/ 1625093 w 11863054"/>
                <a:gd name="connsiteY72" fmla="*/ 1914628 h 6858000"/>
                <a:gd name="connsiteX73" fmla="*/ 3898186 w 11863054"/>
                <a:gd name="connsiteY73" fmla="*/ 1914462 h 6858000"/>
                <a:gd name="connsiteX74" fmla="*/ 4178804 w 11863054"/>
                <a:gd name="connsiteY74" fmla="*/ 2400461 h 6858000"/>
                <a:gd name="connsiteX75" fmla="*/ 3898241 w 11863054"/>
                <a:gd name="connsiteY75" fmla="*/ 2886349 h 6858000"/>
                <a:gd name="connsiteX76" fmla="*/ 3337115 w 11863054"/>
                <a:gd name="connsiteY76" fmla="*/ 2886349 h 6858000"/>
                <a:gd name="connsiteX77" fmla="*/ 3056441 w 11863054"/>
                <a:gd name="connsiteY77" fmla="*/ 2400295 h 6858000"/>
                <a:gd name="connsiteX78" fmla="*/ 3336949 w 11863054"/>
                <a:gd name="connsiteY78" fmla="*/ 1914462 h 6858000"/>
                <a:gd name="connsiteX79" fmla="*/ 5610872 w 11863054"/>
                <a:gd name="connsiteY79" fmla="*/ 1914185 h 6858000"/>
                <a:gd name="connsiteX80" fmla="*/ 5891491 w 11863054"/>
                <a:gd name="connsiteY80" fmla="*/ 2400240 h 6858000"/>
                <a:gd name="connsiteX81" fmla="*/ 5610983 w 11863054"/>
                <a:gd name="connsiteY81" fmla="*/ 2886072 h 6858000"/>
                <a:gd name="connsiteX82" fmla="*/ 5049469 w 11863054"/>
                <a:gd name="connsiteY82" fmla="*/ 2886072 h 6858000"/>
                <a:gd name="connsiteX83" fmla="*/ 4768962 w 11863054"/>
                <a:gd name="connsiteY83" fmla="*/ 2400295 h 6858000"/>
                <a:gd name="connsiteX84" fmla="*/ 5049635 w 11863054"/>
                <a:gd name="connsiteY84" fmla="*/ 1914185 h 6858000"/>
                <a:gd name="connsiteX85" fmla="*/ 7323669 w 11863054"/>
                <a:gd name="connsiteY85" fmla="*/ 1913853 h 6858000"/>
                <a:gd name="connsiteX86" fmla="*/ 7604232 w 11863054"/>
                <a:gd name="connsiteY86" fmla="*/ 2399852 h 6858000"/>
                <a:gd name="connsiteX87" fmla="*/ 7323669 w 11863054"/>
                <a:gd name="connsiteY87" fmla="*/ 2885740 h 6858000"/>
                <a:gd name="connsiteX88" fmla="*/ 6762377 w 11863054"/>
                <a:gd name="connsiteY88" fmla="*/ 2885740 h 6858000"/>
                <a:gd name="connsiteX89" fmla="*/ 6481870 w 11863054"/>
                <a:gd name="connsiteY89" fmla="*/ 2399741 h 6858000"/>
                <a:gd name="connsiteX90" fmla="*/ 6762322 w 11863054"/>
                <a:gd name="connsiteY90" fmla="*/ 1913853 h 6858000"/>
                <a:gd name="connsiteX91" fmla="*/ 1330015 w 11863054"/>
                <a:gd name="connsiteY91" fmla="*/ 1420652 h 6858000"/>
                <a:gd name="connsiteX92" fmla="*/ 1610135 w 11863054"/>
                <a:gd name="connsiteY92" fmla="*/ 1905930 h 6858000"/>
                <a:gd name="connsiteX93" fmla="*/ 1329073 w 11863054"/>
                <a:gd name="connsiteY93" fmla="*/ 2392594 h 6858000"/>
                <a:gd name="connsiteX94" fmla="*/ 768723 w 11863054"/>
                <a:gd name="connsiteY94" fmla="*/ 2392594 h 6858000"/>
                <a:gd name="connsiteX95" fmla="*/ 487993 w 11863054"/>
                <a:gd name="connsiteY95" fmla="*/ 1906429 h 6858000"/>
                <a:gd name="connsiteX96" fmla="*/ 768446 w 11863054"/>
                <a:gd name="connsiteY96" fmla="*/ 1420652 h 6858000"/>
                <a:gd name="connsiteX97" fmla="*/ 4754612 w 11863054"/>
                <a:gd name="connsiteY97" fmla="*/ 1420208 h 6858000"/>
                <a:gd name="connsiteX98" fmla="*/ 5035175 w 11863054"/>
                <a:gd name="connsiteY98" fmla="*/ 1906096 h 6858000"/>
                <a:gd name="connsiteX99" fmla="*/ 4754391 w 11863054"/>
                <a:gd name="connsiteY99" fmla="*/ 2392151 h 6858000"/>
                <a:gd name="connsiteX100" fmla="*/ 4193375 w 11863054"/>
                <a:gd name="connsiteY100" fmla="*/ 2392151 h 6858000"/>
                <a:gd name="connsiteX101" fmla="*/ 3912646 w 11863054"/>
                <a:gd name="connsiteY101" fmla="*/ 1905986 h 6858000"/>
                <a:gd name="connsiteX102" fmla="*/ 4193098 w 11863054"/>
                <a:gd name="connsiteY102" fmla="*/ 1420208 h 6858000"/>
                <a:gd name="connsiteX103" fmla="*/ 3041704 w 11863054"/>
                <a:gd name="connsiteY103" fmla="*/ 1420097 h 6858000"/>
                <a:gd name="connsiteX104" fmla="*/ 3322322 w 11863054"/>
                <a:gd name="connsiteY104" fmla="*/ 1906207 h 6858000"/>
                <a:gd name="connsiteX105" fmla="*/ 3041925 w 11863054"/>
                <a:gd name="connsiteY105" fmla="*/ 2391985 h 6858000"/>
                <a:gd name="connsiteX106" fmla="*/ 2480523 w 11863054"/>
                <a:gd name="connsiteY106" fmla="*/ 2391985 h 6858000"/>
                <a:gd name="connsiteX107" fmla="*/ 2200347 w 11863054"/>
                <a:gd name="connsiteY107" fmla="*/ 1906706 h 6858000"/>
                <a:gd name="connsiteX108" fmla="*/ 2481187 w 11863054"/>
                <a:gd name="connsiteY108" fmla="*/ 1420097 h 6858000"/>
                <a:gd name="connsiteX109" fmla="*/ 6467243 w 11863054"/>
                <a:gd name="connsiteY109" fmla="*/ 1419654 h 6858000"/>
                <a:gd name="connsiteX110" fmla="*/ 6747862 w 11863054"/>
                <a:gd name="connsiteY110" fmla="*/ 1905597 h 6858000"/>
                <a:gd name="connsiteX111" fmla="*/ 6467409 w 11863054"/>
                <a:gd name="connsiteY111" fmla="*/ 2391486 h 6858000"/>
                <a:gd name="connsiteX112" fmla="*/ 5905785 w 11863054"/>
                <a:gd name="connsiteY112" fmla="*/ 2391486 h 6858000"/>
                <a:gd name="connsiteX113" fmla="*/ 5625333 w 11863054"/>
                <a:gd name="connsiteY113" fmla="*/ 1905708 h 6858000"/>
                <a:gd name="connsiteX114" fmla="*/ 5735696 w 11863054"/>
                <a:gd name="connsiteY114" fmla="*/ 1714456 h 6858000"/>
                <a:gd name="connsiteX115" fmla="*/ 5905950 w 11863054"/>
                <a:gd name="connsiteY115" fmla="*/ 1419654 h 6858000"/>
                <a:gd name="connsiteX116" fmla="*/ 8180151 w 11863054"/>
                <a:gd name="connsiteY116" fmla="*/ 1419654 h 6858000"/>
                <a:gd name="connsiteX117" fmla="*/ 8460603 w 11863054"/>
                <a:gd name="connsiteY117" fmla="*/ 1905487 h 6858000"/>
                <a:gd name="connsiteX118" fmla="*/ 8179984 w 11863054"/>
                <a:gd name="connsiteY118" fmla="*/ 2391652 h 6858000"/>
                <a:gd name="connsiteX119" fmla="*/ 7618914 w 11863054"/>
                <a:gd name="connsiteY119" fmla="*/ 2391652 h 6858000"/>
                <a:gd name="connsiteX120" fmla="*/ 7338130 w 11863054"/>
                <a:gd name="connsiteY120" fmla="*/ 1905432 h 6858000"/>
                <a:gd name="connsiteX121" fmla="*/ 7618582 w 11863054"/>
                <a:gd name="connsiteY121" fmla="*/ 1419654 h 6858000"/>
                <a:gd name="connsiteX122" fmla="*/ 2186164 w 11863054"/>
                <a:gd name="connsiteY122" fmla="*/ 926120 h 6858000"/>
                <a:gd name="connsiteX123" fmla="*/ 2466395 w 11863054"/>
                <a:gd name="connsiteY123" fmla="*/ 1411344 h 6858000"/>
                <a:gd name="connsiteX124" fmla="*/ 2185555 w 11863054"/>
                <a:gd name="connsiteY124" fmla="*/ 1897952 h 6858000"/>
                <a:gd name="connsiteX125" fmla="*/ 1624817 w 11863054"/>
                <a:gd name="connsiteY125" fmla="*/ 1897952 h 6858000"/>
                <a:gd name="connsiteX126" fmla="*/ 1344253 w 11863054"/>
                <a:gd name="connsiteY126" fmla="*/ 1412064 h 6858000"/>
                <a:gd name="connsiteX127" fmla="*/ 1624817 w 11863054"/>
                <a:gd name="connsiteY127" fmla="*/ 926120 h 6858000"/>
                <a:gd name="connsiteX128" fmla="*/ 3897853 w 11863054"/>
                <a:gd name="connsiteY128" fmla="*/ 925677 h 6858000"/>
                <a:gd name="connsiteX129" fmla="*/ 4178583 w 11863054"/>
                <a:gd name="connsiteY129" fmla="*/ 1411842 h 6858000"/>
                <a:gd name="connsiteX130" fmla="*/ 3898186 w 11863054"/>
                <a:gd name="connsiteY130" fmla="*/ 1897620 h 6858000"/>
                <a:gd name="connsiteX131" fmla="*/ 3336838 w 11863054"/>
                <a:gd name="connsiteY131" fmla="*/ 1897620 h 6858000"/>
                <a:gd name="connsiteX132" fmla="*/ 3056607 w 11863054"/>
                <a:gd name="connsiteY132" fmla="*/ 1412174 h 6858000"/>
                <a:gd name="connsiteX133" fmla="*/ 3337503 w 11863054"/>
                <a:gd name="connsiteY133" fmla="*/ 925677 h 6858000"/>
                <a:gd name="connsiteX134" fmla="*/ 5610872 w 11863054"/>
                <a:gd name="connsiteY134" fmla="*/ 925622 h 6858000"/>
                <a:gd name="connsiteX135" fmla="*/ 5891380 w 11863054"/>
                <a:gd name="connsiteY135" fmla="*/ 1411455 h 6858000"/>
                <a:gd name="connsiteX136" fmla="*/ 5710376 w 11863054"/>
                <a:gd name="connsiteY136" fmla="*/ 1725093 h 6858000"/>
                <a:gd name="connsiteX137" fmla="*/ 5610761 w 11863054"/>
                <a:gd name="connsiteY137" fmla="*/ 1897453 h 6858000"/>
                <a:gd name="connsiteX138" fmla="*/ 5049414 w 11863054"/>
                <a:gd name="connsiteY138" fmla="*/ 1897453 h 6858000"/>
                <a:gd name="connsiteX139" fmla="*/ 4768851 w 11863054"/>
                <a:gd name="connsiteY139" fmla="*/ 1411565 h 6858000"/>
                <a:gd name="connsiteX140" fmla="*/ 5049469 w 11863054"/>
                <a:gd name="connsiteY140" fmla="*/ 925622 h 6858000"/>
                <a:gd name="connsiteX141" fmla="*/ 7323392 w 11863054"/>
                <a:gd name="connsiteY141" fmla="*/ 925123 h 6858000"/>
                <a:gd name="connsiteX142" fmla="*/ 7604121 w 11863054"/>
                <a:gd name="connsiteY142" fmla="*/ 1411344 h 6858000"/>
                <a:gd name="connsiteX143" fmla="*/ 7323558 w 11863054"/>
                <a:gd name="connsiteY143" fmla="*/ 1896955 h 6858000"/>
                <a:gd name="connsiteX144" fmla="*/ 6762100 w 11863054"/>
                <a:gd name="connsiteY144" fmla="*/ 1896955 h 6858000"/>
                <a:gd name="connsiteX145" fmla="*/ 6481537 w 11863054"/>
                <a:gd name="connsiteY145" fmla="*/ 1411178 h 6858000"/>
                <a:gd name="connsiteX146" fmla="*/ 6591069 w 11863054"/>
                <a:gd name="connsiteY146" fmla="*/ 1221532 h 6858000"/>
                <a:gd name="connsiteX147" fmla="*/ 6762266 w 11863054"/>
                <a:gd name="connsiteY147" fmla="*/ 925123 h 6858000"/>
                <a:gd name="connsiteX148" fmla="*/ 9036411 w 11863054"/>
                <a:gd name="connsiteY148" fmla="*/ 925068 h 6858000"/>
                <a:gd name="connsiteX149" fmla="*/ 9316919 w 11863054"/>
                <a:gd name="connsiteY149" fmla="*/ 1410955 h 6858000"/>
                <a:gd name="connsiteX150" fmla="*/ 9036245 w 11863054"/>
                <a:gd name="connsiteY150" fmla="*/ 1896955 h 6858000"/>
                <a:gd name="connsiteX151" fmla="*/ 8475008 w 11863054"/>
                <a:gd name="connsiteY151" fmla="*/ 1896955 h 6858000"/>
                <a:gd name="connsiteX152" fmla="*/ 8194389 w 11863054"/>
                <a:gd name="connsiteY152" fmla="*/ 1411066 h 6858000"/>
                <a:gd name="connsiteX153" fmla="*/ 8475008 w 11863054"/>
                <a:gd name="connsiteY153" fmla="*/ 925068 h 6858000"/>
                <a:gd name="connsiteX154" fmla="*/ 1329738 w 11863054"/>
                <a:gd name="connsiteY154" fmla="*/ 432032 h 6858000"/>
                <a:gd name="connsiteX155" fmla="*/ 1610245 w 11863054"/>
                <a:gd name="connsiteY155" fmla="*/ 917810 h 6858000"/>
                <a:gd name="connsiteX156" fmla="*/ 1329627 w 11863054"/>
                <a:gd name="connsiteY156" fmla="*/ 1403864 h 6858000"/>
                <a:gd name="connsiteX157" fmla="*/ 768446 w 11863054"/>
                <a:gd name="connsiteY157" fmla="*/ 1403864 h 6858000"/>
                <a:gd name="connsiteX158" fmla="*/ 487827 w 11863054"/>
                <a:gd name="connsiteY158" fmla="*/ 917810 h 6858000"/>
                <a:gd name="connsiteX159" fmla="*/ 768335 w 11863054"/>
                <a:gd name="connsiteY159" fmla="*/ 432032 h 6858000"/>
                <a:gd name="connsiteX160" fmla="*/ 3042369 w 11863054"/>
                <a:gd name="connsiteY160" fmla="*/ 431534 h 6858000"/>
                <a:gd name="connsiteX161" fmla="*/ 3322599 w 11863054"/>
                <a:gd name="connsiteY161" fmla="*/ 916979 h 6858000"/>
                <a:gd name="connsiteX162" fmla="*/ 3041704 w 11863054"/>
                <a:gd name="connsiteY162" fmla="*/ 1403366 h 6858000"/>
                <a:gd name="connsiteX163" fmla="*/ 2481187 w 11863054"/>
                <a:gd name="connsiteY163" fmla="*/ 1403366 h 6858000"/>
                <a:gd name="connsiteX164" fmla="*/ 2200569 w 11863054"/>
                <a:gd name="connsiteY164" fmla="*/ 917422 h 6858000"/>
                <a:gd name="connsiteX165" fmla="*/ 2481021 w 11863054"/>
                <a:gd name="connsiteY165" fmla="*/ 431534 h 6858000"/>
                <a:gd name="connsiteX166" fmla="*/ 4754335 w 11863054"/>
                <a:gd name="connsiteY166" fmla="*/ 431534 h 6858000"/>
                <a:gd name="connsiteX167" fmla="*/ 5034898 w 11863054"/>
                <a:gd name="connsiteY167" fmla="*/ 917477 h 6858000"/>
                <a:gd name="connsiteX168" fmla="*/ 4754169 w 11863054"/>
                <a:gd name="connsiteY168" fmla="*/ 1403366 h 6858000"/>
                <a:gd name="connsiteX169" fmla="*/ 4193043 w 11863054"/>
                <a:gd name="connsiteY169" fmla="*/ 1403366 h 6858000"/>
                <a:gd name="connsiteX170" fmla="*/ 3912701 w 11863054"/>
                <a:gd name="connsiteY170" fmla="*/ 917810 h 6858000"/>
                <a:gd name="connsiteX171" fmla="*/ 4193541 w 11863054"/>
                <a:gd name="connsiteY171" fmla="*/ 431534 h 6858000"/>
                <a:gd name="connsiteX172" fmla="*/ 6467243 w 11863054"/>
                <a:gd name="connsiteY172" fmla="*/ 431090 h 6858000"/>
                <a:gd name="connsiteX173" fmla="*/ 6747695 w 11863054"/>
                <a:gd name="connsiteY173" fmla="*/ 916979 h 6858000"/>
                <a:gd name="connsiteX174" fmla="*/ 6693400 w 11863054"/>
                <a:gd name="connsiteY174" fmla="*/ 1011054 h 6858000"/>
                <a:gd name="connsiteX175" fmla="*/ 6467077 w 11863054"/>
                <a:gd name="connsiteY175" fmla="*/ 1403033 h 6858000"/>
                <a:gd name="connsiteX176" fmla="*/ 5905729 w 11863054"/>
                <a:gd name="connsiteY176" fmla="*/ 1403033 h 6858000"/>
                <a:gd name="connsiteX177" fmla="*/ 5625166 w 11863054"/>
                <a:gd name="connsiteY177" fmla="*/ 916979 h 6858000"/>
                <a:gd name="connsiteX178" fmla="*/ 5905674 w 11863054"/>
                <a:gd name="connsiteY178" fmla="*/ 431090 h 6858000"/>
                <a:gd name="connsiteX179" fmla="*/ 8179874 w 11863054"/>
                <a:gd name="connsiteY179" fmla="*/ 431035 h 6858000"/>
                <a:gd name="connsiteX180" fmla="*/ 8460326 w 11863054"/>
                <a:gd name="connsiteY180" fmla="*/ 916812 h 6858000"/>
                <a:gd name="connsiteX181" fmla="*/ 8179818 w 11863054"/>
                <a:gd name="connsiteY181" fmla="*/ 1402867 h 6858000"/>
                <a:gd name="connsiteX182" fmla="*/ 7618582 w 11863054"/>
                <a:gd name="connsiteY182" fmla="*/ 1402867 h 6858000"/>
                <a:gd name="connsiteX183" fmla="*/ 7337963 w 11863054"/>
                <a:gd name="connsiteY183" fmla="*/ 916812 h 6858000"/>
                <a:gd name="connsiteX184" fmla="*/ 7618471 w 11863054"/>
                <a:gd name="connsiteY184" fmla="*/ 431035 h 6858000"/>
                <a:gd name="connsiteX185" fmla="*/ 9892505 w 11863054"/>
                <a:gd name="connsiteY185" fmla="*/ 430592 h 6858000"/>
                <a:gd name="connsiteX186" fmla="*/ 10173123 w 11863054"/>
                <a:gd name="connsiteY186" fmla="*/ 916536 h 6858000"/>
                <a:gd name="connsiteX187" fmla="*/ 9892560 w 11863054"/>
                <a:gd name="connsiteY187" fmla="*/ 1402534 h 6858000"/>
                <a:gd name="connsiteX188" fmla="*/ 9331323 w 11863054"/>
                <a:gd name="connsiteY188" fmla="*/ 1402534 h 6858000"/>
                <a:gd name="connsiteX189" fmla="*/ 9050650 w 11863054"/>
                <a:gd name="connsiteY189" fmla="*/ 916424 h 6858000"/>
                <a:gd name="connsiteX190" fmla="*/ 9331157 w 11863054"/>
                <a:gd name="connsiteY190" fmla="*/ 430592 h 6858000"/>
                <a:gd name="connsiteX191" fmla="*/ 11863054 w 11863054"/>
                <a:gd name="connsiteY191" fmla="*/ 0 h 6858000"/>
                <a:gd name="connsiteX192" fmla="*/ 11843939 w 11863054"/>
                <a:gd name="connsiteY192" fmla="*/ 0 h 6858000"/>
                <a:gd name="connsiteX193" fmla="*/ 11604970 w 11863054"/>
                <a:gd name="connsiteY193" fmla="*/ 413916 h 6858000"/>
                <a:gd name="connsiteX194" fmla="*/ 11043788 w 11863054"/>
                <a:gd name="connsiteY194" fmla="*/ 413916 h 6858000"/>
                <a:gd name="connsiteX195" fmla="*/ 10804853 w 11863054"/>
                <a:gd name="connsiteY195" fmla="*/ 0 h 6858000"/>
                <a:gd name="connsiteX196" fmla="*/ 10785529 w 11863054"/>
                <a:gd name="connsiteY196" fmla="*/ 0 h 6858000"/>
                <a:gd name="connsiteX197" fmla="*/ 11029217 w 11863054"/>
                <a:gd name="connsiteY197" fmla="*/ 422170 h 6858000"/>
                <a:gd name="connsiteX198" fmla="*/ 10748654 w 11863054"/>
                <a:gd name="connsiteY198" fmla="*/ 908114 h 6858000"/>
                <a:gd name="connsiteX199" fmla="*/ 10187639 w 11863054"/>
                <a:gd name="connsiteY199" fmla="*/ 908114 h 6858000"/>
                <a:gd name="connsiteX200" fmla="*/ 9906965 w 11863054"/>
                <a:gd name="connsiteY200" fmla="*/ 421949 h 6858000"/>
                <a:gd name="connsiteX201" fmla="*/ 10150539 w 11863054"/>
                <a:gd name="connsiteY201" fmla="*/ 0 h 6858000"/>
                <a:gd name="connsiteX202" fmla="*/ 10131190 w 11863054"/>
                <a:gd name="connsiteY202" fmla="*/ 0 h 6858000"/>
                <a:gd name="connsiteX203" fmla="*/ 9892339 w 11863054"/>
                <a:gd name="connsiteY203" fmla="*/ 413638 h 6858000"/>
                <a:gd name="connsiteX204" fmla="*/ 9330991 w 11863054"/>
                <a:gd name="connsiteY204" fmla="*/ 413638 h 6858000"/>
                <a:gd name="connsiteX205" fmla="*/ 9092139 w 11863054"/>
                <a:gd name="connsiteY205" fmla="*/ 0 h 6858000"/>
                <a:gd name="connsiteX206" fmla="*/ 9072826 w 11863054"/>
                <a:gd name="connsiteY206" fmla="*/ 0 h 6858000"/>
                <a:gd name="connsiteX207" fmla="*/ 9316642 w 11863054"/>
                <a:gd name="connsiteY207" fmla="*/ 422392 h 6858000"/>
                <a:gd name="connsiteX208" fmla="*/ 9036189 w 11863054"/>
                <a:gd name="connsiteY208" fmla="*/ 908170 h 6858000"/>
                <a:gd name="connsiteX209" fmla="*/ 8474731 w 11863054"/>
                <a:gd name="connsiteY209" fmla="*/ 908170 h 6858000"/>
                <a:gd name="connsiteX210" fmla="*/ 8194168 w 11863054"/>
                <a:gd name="connsiteY210" fmla="*/ 422503 h 6858000"/>
                <a:gd name="connsiteX211" fmla="*/ 8438136 w 11863054"/>
                <a:gd name="connsiteY211" fmla="*/ 0 h 6858000"/>
                <a:gd name="connsiteX212" fmla="*/ 8418811 w 11863054"/>
                <a:gd name="connsiteY212" fmla="*/ 0 h 6858000"/>
                <a:gd name="connsiteX213" fmla="*/ 8179597 w 11863054"/>
                <a:gd name="connsiteY213" fmla="*/ 414303 h 6858000"/>
                <a:gd name="connsiteX214" fmla="*/ 7618582 w 11863054"/>
                <a:gd name="connsiteY214" fmla="*/ 414303 h 6858000"/>
                <a:gd name="connsiteX215" fmla="*/ 7379274 w 11863054"/>
                <a:gd name="connsiteY215" fmla="*/ 0 h 6858000"/>
                <a:gd name="connsiteX216" fmla="*/ 7359940 w 11863054"/>
                <a:gd name="connsiteY216" fmla="*/ 0 h 6858000"/>
                <a:gd name="connsiteX217" fmla="*/ 7603955 w 11863054"/>
                <a:gd name="connsiteY217" fmla="*/ 422558 h 6858000"/>
                <a:gd name="connsiteX218" fmla="*/ 7323337 w 11863054"/>
                <a:gd name="connsiteY218" fmla="*/ 908447 h 6858000"/>
                <a:gd name="connsiteX219" fmla="*/ 6762100 w 11863054"/>
                <a:gd name="connsiteY219" fmla="*/ 908447 h 6858000"/>
                <a:gd name="connsiteX220" fmla="*/ 6481482 w 11863054"/>
                <a:gd name="connsiteY220" fmla="*/ 422503 h 6858000"/>
                <a:gd name="connsiteX221" fmla="*/ 6725445 w 11863054"/>
                <a:gd name="connsiteY221" fmla="*/ 0 h 6858000"/>
                <a:gd name="connsiteX222" fmla="*/ 6706132 w 11863054"/>
                <a:gd name="connsiteY222" fmla="*/ 0 h 6858000"/>
                <a:gd name="connsiteX223" fmla="*/ 6466910 w 11863054"/>
                <a:gd name="connsiteY223" fmla="*/ 414303 h 6858000"/>
                <a:gd name="connsiteX224" fmla="*/ 5905508 w 11863054"/>
                <a:gd name="connsiteY224" fmla="*/ 414303 h 6858000"/>
                <a:gd name="connsiteX225" fmla="*/ 5666338 w 11863054"/>
                <a:gd name="connsiteY225" fmla="*/ 0 h 6858000"/>
                <a:gd name="connsiteX226" fmla="*/ 5646974 w 11863054"/>
                <a:gd name="connsiteY226" fmla="*/ 0 h 6858000"/>
                <a:gd name="connsiteX227" fmla="*/ 5891214 w 11863054"/>
                <a:gd name="connsiteY227" fmla="*/ 422946 h 6858000"/>
                <a:gd name="connsiteX228" fmla="*/ 5618463 w 11863054"/>
                <a:gd name="connsiteY228" fmla="*/ 895261 h 6858000"/>
                <a:gd name="connsiteX229" fmla="*/ 5610706 w 11863054"/>
                <a:gd name="connsiteY229" fmla="*/ 908835 h 6858000"/>
                <a:gd name="connsiteX230" fmla="*/ 5049192 w 11863054"/>
                <a:gd name="connsiteY230" fmla="*/ 908835 h 6858000"/>
                <a:gd name="connsiteX231" fmla="*/ 4769017 w 11863054"/>
                <a:gd name="connsiteY231" fmla="*/ 423556 h 6858000"/>
                <a:gd name="connsiteX232" fmla="*/ 5013591 w 11863054"/>
                <a:gd name="connsiteY232" fmla="*/ 0 h 6858000"/>
                <a:gd name="connsiteX233" fmla="*/ 4993649 w 11863054"/>
                <a:gd name="connsiteY233" fmla="*/ 0 h 6858000"/>
                <a:gd name="connsiteX234" fmla="*/ 4754058 w 11863054"/>
                <a:gd name="connsiteY234" fmla="*/ 414857 h 6858000"/>
                <a:gd name="connsiteX235" fmla="*/ 4193652 w 11863054"/>
                <a:gd name="connsiteY235" fmla="*/ 414857 h 6858000"/>
                <a:gd name="connsiteX236" fmla="*/ 3954146 w 11863054"/>
                <a:gd name="connsiteY236" fmla="*/ 0 h 6858000"/>
                <a:gd name="connsiteX237" fmla="*/ 3934827 w 11863054"/>
                <a:gd name="connsiteY237" fmla="*/ 0 h 6858000"/>
                <a:gd name="connsiteX238" fmla="*/ 4178860 w 11863054"/>
                <a:gd name="connsiteY238" fmla="*/ 422669 h 6858000"/>
                <a:gd name="connsiteX239" fmla="*/ 3898186 w 11863054"/>
                <a:gd name="connsiteY239" fmla="*/ 909056 h 6858000"/>
                <a:gd name="connsiteX240" fmla="*/ 3337503 w 11863054"/>
                <a:gd name="connsiteY240" fmla="*/ 909056 h 6858000"/>
                <a:gd name="connsiteX241" fmla="*/ 3056829 w 11863054"/>
                <a:gd name="connsiteY241" fmla="*/ 422946 h 6858000"/>
                <a:gd name="connsiteX242" fmla="*/ 3300979 w 11863054"/>
                <a:gd name="connsiteY242" fmla="*/ 0 h 6858000"/>
                <a:gd name="connsiteX243" fmla="*/ 3281513 w 11863054"/>
                <a:gd name="connsiteY243" fmla="*/ 0 h 6858000"/>
                <a:gd name="connsiteX244" fmla="*/ 3042203 w 11863054"/>
                <a:gd name="connsiteY244" fmla="*/ 414691 h 6858000"/>
                <a:gd name="connsiteX245" fmla="*/ 2480855 w 11863054"/>
                <a:gd name="connsiteY245" fmla="*/ 414691 h 6858000"/>
                <a:gd name="connsiteX246" fmla="*/ 2241403 w 11863054"/>
                <a:gd name="connsiteY246" fmla="*/ 0 h 6858000"/>
                <a:gd name="connsiteX247" fmla="*/ 2222087 w 11863054"/>
                <a:gd name="connsiteY247" fmla="*/ 0 h 6858000"/>
                <a:gd name="connsiteX248" fmla="*/ 2466505 w 11863054"/>
                <a:gd name="connsiteY248" fmla="*/ 423389 h 6858000"/>
                <a:gd name="connsiteX249" fmla="*/ 2214697 w 11863054"/>
                <a:gd name="connsiteY249" fmla="*/ 859580 h 6858000"/>
                <a:gd name="connsiteX250" fmla="*/ 2186053 w 11863054"/>
                <a:gd name="connsiteY250" fmla="*/ 909278 h 6858000"/>
                <a:gd name="connsiteX251" fmla="*/ 1624539 w 11863054"/>
                <a:gd name="connsiteY251" fmla="*/ 909278 h 6858000"/>
                <a:gd name="connsiteX252" fmla="*/ 1344087 w 11863054"/>
                <a:gd name="connsiteY252" fmla="*/ 423445 h 6858000"/>
                <a:gd name="connsiteX253" fmla="*/ 1588559 w 11863054"/>
                <a:gd name="connsiteY253" fmla="*/ 0 h 6858000"/>
                <a:gd name="connsiteX254" fmla="*/ 1569223 w 11863054"/>
                <a:gd name="connsiteY254" fmla="*/ 0 h 6858000"/>
                <a:gd name="connsiteX255" fmla="*/ 1329461 w 11863054"/>
                <a:gd name="connsiteY255" fmla="*/ 415301 h 6858000"/>
                <a:gd name="connsiteX256" fmla="*/ 768446 w 11863054"/>
                <a:gd name="connsiteY256" fmla="*/ 415301 h 6858000"/>
                <a:gd name="connsiteX257" fmla="*/ 528589 w 11863054"/>
                <a:gd name="connsiteY257" fmla="*/ 0 h 6858000"/>
                <a:gd name="connsiteX258" fmla="*/ 509180 w 11863054"/>
                <a:gd name="connsiteY258" fmla="*/ 0 h 6858000"/>
                <a:gd name="connsiteX259" fmla="*/ 753764 w 11863054"/>
                <a:gd name="connsiteY259" fmla="*/ 423667 h 6858000"/>
                <a:gd name="connsiteX260" fmla="*/ 473201 w 11863054"/>
                <a:gd name="connsiteY260" fmla="*/ 909444 h 6858000"/>
                <a:gd name="connsiteX261" fmla="*/ 0 w 11863054"/>
                <a:gd name="connsiteY261" fmla="*/ 909444 h 6858000"/>
                <a:gd name="connsiteX262" fmla="*/ 0 w 11863054"/>
                <a:gd name="connsiteY262" fmla="*/ 926120 h 6858000"/>
                <a:gd name="connsiteX263" fmla="*/ 473201 w 11863054"/>
                <a:gd name="connsiteY263" fmla="*/ 926120 h 6858000"/>
                <a:gd name="connsiteX264" fmla="*/ 754041 w 11863054"/>
                <a:gd name="connsiteY264" fmla="*/ 1412285 h 6858000"/>
                <a:gd name="connsiteX265" fmla="*/ 473533 w 11863054"/>
                <a:gd name="connsiteY265" fmla="*/ 1898063 h 6858000"/>
                <a:gd name="connsiteX266" fmla="*/ 0 w 11863054"/>
                <a:gd name="connsiteY266" fmla="*/ 1898063 h 6858000"/>
                <a:gd name="connsiteX267" fmla="*/ 0 w 11863054"/>
                <a:gd name="connsiteY267" fmla="*/ 1914850 h 6858000"/>
                <a:gd name="connsiteX268" fmla="*/ 473533 w 11863054"/>
                <a:gd name="connsiteY268" fmla="*/ 1914850 h 6858000"/>
                <a:gd name="connsiteX269" fmla="*/ 753875 w 11863054"/>
                <a:gd name="connsiteY269" fmla="*/ 2400517 h 6858000"/>
                <a:gd name="connsiteX270" fmla="*/ 473201 w 11863054"/>
                <a:gd name="connsiteY270" fmla="*/ 2886737 h 6858000"/>
                <a:gd name="connsiteX271" fmla="*/ 0 w 11863054"/>
                <a:gd name="connsiteY271" fmla="*/ 2886737 h 6858000"/>
                <a:gd name="connsiteX272" fmla="*/ 0 w 11863054"/>
                <a:gd name="connsiteY272" fmla="*/ 2903414 h 6858000"/>
                <a:gd name="connsiteX273" fmla="*/ 472924 w 11863054"/>
                <a:gd name="connsiteY273" fmla="*/ 2903414 h 6858000"/>
                <a:gd name="connsiteX274" fmla="*/ 753597 w 11863054"/>
                <a:gd name="connsiteY274" fmla="*/ 3389579 h 6858000"/>
                <a:gd name="connsiteX275" fmla="*/ 473201 w 11863054"/>
                <a:gd name="connsiteY275" fmla="*/ 3875245 h 6858000"/>
                <a:gd name="connsiteX276" fmla="*/ 0 w 11863054"/>
                <a:gd name="connsiteY276" fmla="*/ 3875245 h 6858000"/>
                <a:gd name="connsiteX277" fmla="*/ 0 w 11863054"/>
                <a:gd name="connsiteY277" fmla="*/ 3892032 h 6858000"/>
                <a:gd name="connsiteX278" fmla="*/ 473367 w 11863054"/>
                <a:gd name="connsiteY278" fmla="*/ 3892032 h 6858000"/>
                <a:gd name="connsiteX279" fmla="*/ 753875 w 11863054"/>
                <a:gd name="connsiteY279" fmla="*/ 4377921 h 6858000"/>
                <a:gd name="connsiteX280" fmla="*/ 473201 w 11863054"/>
                <a:gd name="connsiteY280" fmla="*/ 4863975 h 6858000"/>
                <a:gd name="connsiteX281" fmla="*/ 0 w 11863054"/>
                <a:gd name="connsiteY281" fmla="*/ 4863975 h 6858000"/>
                <a:gd name="connsiteX282" fmla="*/ 0 w 11863054"/>
                <a:gd name="connsiteY282" fmla="*/ 4880651 h 6858000"/>
                <a:gd name="connsiteX283" fmla="*/ 473422 w 11863054"/>
                <a:gd name="connsiteY283" fmla="*/ 4880651 h 6858000"/>
                <a:gd name="connsiteX284" fmla="*/ 754041 w 11863054"/>
                <a:gd name="connsiteY284" fmla="*/ 5366650 h 6858000"/>
                <a:gd name="connsiteX285" fmla="*/ 473478 w 11863054"/>
                <a:gd name="connsiteY285" fmla="*/ 5852538 h 6858000"/>
                <a:gd name="connsiteX286" fmla="*/ 0 w 11863054"/>
                <a:gd name="connsiteY286" fmla="*/ 5852538 h 6858000"/>
                <a:gd name="connsiteX287" fmla="*/ 0 w 11863054"/>
                <a:gd name="connsiteY287" fmla="*/ 5869436 h 6858000"/>
                <a:gd name="connsiteX288" fmla="*/ 473699 w 11863054"/>
                <a:gd name="connsiteY288" fmla="*/ 5869436 h 6858000"/>
                <a:gd name="connsiteX289" fmla="*/ 754262 w 11863054"/>
                <a:gd name="connsiteY289" fmla="*/ 6355158 h 6858000"/>
                <a:gd name="connsiteX290" fmla="*/ 473644 w 11863054"/>
                <a:gd name="connsiteY290" fmla="*/ 6841324 h 6858000"/>
                <a:gd name="connsiteX291" fmla="*/ 0 w 11863054"/>
                <a:gd name="connsiteY291" fmla="*/ 6841324 h 6858000"/>
                <a:gd name="connsiteX292" fmla="*/ 0 w 11863054"/>
                <a:gd name="connsiteY292" fmla="*/ 6858000 h 6858000"/>
                <a:gd name="connsiteX293" fmla="*/ 483173 w 11863054"/>
                <a:gd name="connsiteY293" fmla="*/ 6858000 h 6858000"/>
                <a:gd name="connsiteX294" fmla="*/ 773377 w 11863054"/>
                <a:gd name="connsiteY294" fmla="*/ 6355214 h 6858000"/>
                <a:gd name="connsiteX295" fmla="*/ 487938 w 11863054"/>
                <a:gd name="connsiteY295" fmla="*/ 5860849 h 6858000"/>
                <a:gd name="connsiteX296" fmla="*/ 773266 w 11863054"/>
                <a:gd name="connsiteY296" fmla="*/ 5366761 h 6858000"/>
                <a:gd name="connsiteX297" fmla="*/ 487716 w 11863054"/>
                <a:gd name="connsiteY297" fmla="*/ 4872175 h 6858000"/>
                <a:gd name="connsiteX298" fmla="*/ 773099 w 11863054"/>
                <a:gd name="connsiteY298" fmla="*/ 4378031 h 6858000"/>
                <a:gd name="connsiteX299" fmla="*/ 487606 w 11863054"/>
                <a:gd name="connsiteY299" fmla="*/ 3883611 h 6858000"/>
                <a:gd name="connsiteX300" fmla="*/ 768002 w 11863054"/>
                <a:gd name="connsiteY300" fmla="*/ 3398111 h 6858000"/>
                <a:gd name="connsiteX301" fmla="*/ 1338990 w 11863054"/>
                <a:gd name="connsiteY301" fmla="*/ 3398111 h 6858000"/>
                <a:gd name="connsiteX302" fmla="*/ 1624539 w 11863054"/>
                <a:gd name="connsiteY302" fmla="*/ 2903469 h 6858000"/>
                <a:gd name="connsiteX303" fmla="*/ 2185943 w 11863054"/>
                <a:gd name="connsiteY303" fmla="*/ 2903469 h 6858000"/>
                <a:gd name="connsiteX304" fmla="*/ 2466505 w 11863054"/>
                <a:gd name="connsiteY304" fmla="*/ 3389246 h 6858000"/>
                <a:gd name="connsiteX305" fmla="*/ 2185887 w 11863054"/>
                <a:gd name="connsiteY305" fmla="*/ 3875245 h 6858000"/>
                <a:gd name="connsiteX306" fmla="*/ 1615010 w 11863054"/>
                <a:gd name="connsiteY306" fmla="*/ 3875245 h 6858000"/>
                <a:gd name="connsiteX307" fmla="*/ 1324807 w 11863054"/>
                <a:gd name="connsiteY307" fmla="*/ 4378031 h 6858000"/>
                <a:gd name="connsiteX308" fmla="*/ 1610245 w 11863054"/>
                <a:gd name="connsiteY308" fmla="*/ 4872396 h 6858000"/>
                <a:gd name="connsiteX309" fmla="*/ 1324973 w 11863054"/>
                <a:gd name="connsiteY309" fmla="*/ 5366595 h 6858000"/>
                <a:gd name="connsiteX310" fmla="*/ 1615232 w 11863054"/>
                <a:gd name="connsiteY310" fmla="*/ 5869215 h 6858000"/>
                <a:gd name="connsiteX311" fmla="*/ 2195693 w 11863054"/>
                <a:gd name="connsiteY311" fmla="*/ 5869215 h 6858000"/>
                <a:gd name="connsiteX312" fmla="*/ 2485952 w 11863054"/>
                <a:gd name="connsiteY312" fmla="*/ 5366539 h 6858000"/>
                <a:gd name="connsiteX313" fmla="*/ 2200403 w 11863054"/>
                <a:gd name="connsiteY313" fmla="*/ 4872064 h 6858000"/>
                <a:gd name="connsiteX314" fmla="*/ 2481021 w 11863054"/>
                <a:gd name="connsiteY314" fmla="*/ 4386120 h 6858000"/>
                <a:gd name="connsiteX315" fmla="*/ 3042369 w 11863054"/>
                <a:gd name="connsiteY315" fmla="*/ 4386120 h 6858000"/>
                <a:gd name="connsiteX316" fmla="*/ 3327641 w 11863054"/>
                <a:gd name="connsiteY316" fmla="*/ 4880263 h 6858000"/>
                <a:gd name="connsiteX317" fmla="*/ 3908214 w 11863054"/>
                <a:gd name="connsiteY317" fmla="*/ 4880263 h 6858000"/>
                <a:gd name="connsiteX318" fmla="*/ 4193541 w 11863054"/>
                <a:gd name="connsiteY318" fmla="*/ 4386120 h 6858000"/>
                <a:gd name="connsiteX319" fmla="*/ 4764474 w 11863054"/>
                <a:gd name="connsiteY319" fmla="*/ 4386120 h 6858000"/>
                <a:gd name="connsiteX320" fmla="*/ 5050023 w 11863054"/>
                <a:gd name="connsiteY320" fmla="*/ 3891478 h 6858000"/>
                <a:gd name="connsiteX321" fmla="*/ 5620734 w 11863054"/>
                <a:gd name="connsiteY321" fmla="*/ 3891478 h 6858000"/>
                <a:gd name="connsiteX322" fmla="*/ 5906173 w 11863054"/>
                <a:gd name="connsiteY322" fmla="*/ 3396948 h 6858000"/>
                <a:gd name="connsiteX323" fmla="*/ 6476938 w 11863054"/>
                <a:gd name="connsiteY323" fmla="*/ 3396948 h 6858000"/>
                <a:gd name="connsiteX324" fmla="*/ 6762488 w 11863054"/>
                <a:gd name="connsiteY324" fmla="*/ 2902416 h 6858000"/>
                <a:gd name="connsiteX325" fmla="*/ 7333199 w 11863054"/>
                <a:gd name="connsiteY325" fmla="*/ 2902416 h 6858000"/>
                <a:gd name="connsiteX326" fmla="*/ 7618637 w 11863054"/>
                <a:gd name="connsiteY326" fmla="*/ 2408218 h 6858000"/>
                <a:gd name="connsiteX327" fmla="*/ 8189569 w 11863054"/>
                <a:gd name="connsiteY327" fmla="*/ 2408218 h 6858000"/>
                <a:gd name="connsiteX328" fmla="*/ 8475063 w 11863054"/>
                <a:gd name="connsiteY328" fmla="*/ 1913631 h 6858000"/>
                <a:gd name="connsiteX329" fmla="*/ 9045830 w 11863054"/>
                <a:gd name="connsiteY329" fmla="*/ 1913631 h 6858000"/>
                <a:gd name="connsiteX330" fmla="*/ 9331379 w 11863054"/>
                <a:gd name="connsiteY330" fmla="*/ 1419100 h 6858000"/>
                <a:gd name="connsiteX331" fmla="*/ 9902145 w 11863054"/>
                <a:gd name="connsiteY331" fmla="*/ 1419100 h 6858000"/>
                <a:gd name="connsiteX332" fmla="*/ 10187584 w 11863054"/>
                <a:gd name="connsiteY332" fmla="*/ 924680 h 6858000"/>
                <a:gd name="connsiteX333" fmla="*/ 10758184 w 11863054"/>
                <a:gd name="connsiteY333" fmla="*/ 924680 h 6858000"/>
                <a:gd name="connsiteX334" fmla="*/ 11043511 w 11863054"/>
                <a:gd name="connsiteY334" fmla="*/ 430537 h 6858000"/>
                <a:gd name="connsiteX335" fmla="*/ 11614444 w 11863054"/>
                <a:gd name="connsiteY335" fmla="*/ 4305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11863054" h="6858000">
                  <a:moveTo>
                    <a:pt x="2186275" y="4880651"/>
                  </a:moveTo>
                  <a:lnTo>
                    <a:pt x="2466727" y="5366539"/>
                  </a:lnTo>
                  <a:lnTo>
                    <a:pt x="2186109" y="5852538"/>
                  </a:lnTo>
                  <a:lnTo>
                    <a:pt x="1624817" y="5852538"/>
                  </a:lnTo>
                  <a:lnTo>
                    <a:pt x="1344198" y="5366539"/>
                  </a:lnTo>
                  <a:lnTo>
                    <a:pt x="1624650" y="4880651"/>
                  </a:lnTo>
                  <a:close/>
                  <a:moveTo>
                    <a:pt x="2185887" y="3891755"/>
                  </a:moveTo>
                  <a:lnTo>
                    <a:pt x="2466505" y="4377921"/>
                  </a:lnTo>
                  <a:lnTo>
                    <a:pt x="2186053" y="4863753"/>
                  </a:lnTo>
                  <a:lnTo>
                    <a:pt x="1624539" y="4863753"/>
                  </a:lnTo>
                  <a:lnTo>
                    <a:pt x="1343977" y="4377921"/>
                  </a:lnTo>
                  <a:lnTo>
                    <a:pt x="1624650" y="3891755"/>
                  </a:lnTo>
                  <a:close/>
                  <a:moveTo>
                    <a:pt x="3898518" y="3891700"/>
                  </a:moveTo>
                  <a:lnTo>
                    <a:pt x="4179137" y="4377644"/>
                  </a:lnTo>
                  <a:lnTo>
                    <a:pt x="3898518" y="4863642"/>
                  </a:lnTo>
                  <a:lnTo>
                    <a:pt x="3337226" y="4863642"/>
                  </a:lnTo>
                  <a:lnTo>
                    <a:pt x="3056718" y="4377644"/>
                  </a:lnTo>
                  <a:lnTo>
                    <a:pt x="3337337" y="3891700"/>
                  </a:lnTo>
                  <a:close/>
                  <a:moveTo>
                    <a:pt x="4755000" y="3397502"/>
                  </a:moveTo>
                  <a:lnTo>
                    <a:pt x="5035508" y="3883389"/>
                  </a:lnTo>
                  <a:lnTo>
                    <a:pt x="4754778" y="4369444"/>
                  </a:lnTo>
                  <a:lnTo>
                    <a:pt x="4193652" y="4369444"/>
                  </a:lnTo>
                  <a:lnTo>
                    <a:pt x="3912978" y="3883223"/>
                  </a:lnTo>
                  <a:lnTo>
                    <a:pt x="4193541" y="3397502"/>
                  </a:lnTo>
                  <a:close/>
                  <a:moveTo>
                    <a:pt x="3042147" y="3397391"/>
                  </a:moveTo>
                  <a:lnTo>
                    <a:pt x="3322710" y="3883389"/>
                  </a:lnTo>
                  <a:lnTo>
                    <a:pt x="3042147" y="4369444"/>
                  </a:lnTo>
                  <a:lnTo>
                    <a:pt x="2480966" y="4369444"/>
                  </a:lnTo>
                  <a:lnTo>
                    <a:pt x="2200292" y="3883389"/>
                  </a:lnTo>
                  <a:lnTo>
                    <a:pt x="2480911" y="3397391"/>
                  </a:lnTo>
                  <a:close/>
                  <a:moveTo>
                    <a:pt x="3898186" y="2902970"/>
                  </a:moveTo>
                  <a:lnTo>
                    <a:pt x="4178860" y="3389136"/>
                  </a:lnTo>
                  <a:lnTo>
                    <a:pt x="3898463" y="3874857"/>
                  </a:lnTo>
                  <a:lnTo>
                    <a:pt x="3337115" y="3874857"/>
                  </a:lnTo>
                  <a:lnTo>
                    <a:pt x="3056607" y="3388969"/>
                  </a:lnTo>
                  <a:lnTo>
                    <a:pt x="3337115" y="2902970"/>
                  </a:lnTo>
                  <a:close/>
                  <a:moveTo>
                    <a:pt x="5611205" y="2902915"/>
                  </a:moveTo>
                  <a:lnTo>
                    <a:pt x="5891712" y="3388748"/>
                  </a:lnTo>
                  <a:lnTo>
                    <a:pt x="5611149" y="3874857"/>
                  </a:lnTo>
                  <a:lnTo>
                    <a:pt x="5049857" y="3874857"/>
                  </a:lnTo>
                  <a:lnTo>
                    <a:pt x="4769239" y="3388969"/>
                  </a:lnTo>
                  <a:lnTo>
                    <a:pt x="5049857" y="2902915"/>
                  </a:lnTo>
                  <a:close/>
                  <a:moveTo>
                    <a:pt x="1329350" y="2409215"/>
                  </a:moveTo>
                  <a:lnTo>
                    <a:pt x="1609968" y="2895269"/>
                  </a:lnTo>
                  <a:lnTo>
                    <a:pt x="1329350" y="3381379"/>
                  </a:lnTo>
                  <a:lnTo>
                    <a:pt x="768224" y="3381379"/>
                  </a:lnTo>
                  <a:lnTo>
                    <a:pt x="487716" y="2895546"/>
                  </a:lnTo>
                  <a:lnTo>
                    <a:pt x="768501" y="2409215"/>
                  </a:lnTo>
                  <a:close/>
                  <a:moveTo>
                    <a:pt x="3041981" y="2408883"/>
                  </a:moveTo>
                  <a:lnTo>
                    <a:pt x="3322599" y="2894826"/>
                  </a:lnTo>
                  <a:lnTo>
                    <a:pt x="3042092" y="3380714"/>
                  </a:lnTo>
                  <a:lnTo>
                    <a:pt x="2480855" y="3380714"/>
                  </a:lnTo>
                  <a:lnTo>
                    <a:pt x="2200126" y="2894715"/>
                  </a:lnTo>
                  <a:lnTo>
                    <a:pt x="2480689" y="2408883"/>
                  </a:lnTo>
                  <a:close/>
                  <a:moveTo>
                    <a:pt x="4754612" y="2408827"/>
                  </a:moveTo>
                  <a:lnTo>
                    <a:pt x="5035231" y="2894715"/>
                  </a:lnTo>
                  <a:lnTo>
                    <a:pt x="4754612" y="3380714"/>
                  </a:lnTo>
                  <a:lnTo>
                    <a:pt x="4193375" y="3380714"/>
                  </a:lnTo>
                  <a:lnTo>
                    <a:pt x="3912757" y="2894715"/>
                  </a:lnTo>
                  <a:lnTo>
                    <a:pt x="4193320" y="2408827"/>
                  </a:lnTo>
                  <a:close/>
                  <a:moveTo>
                    <a:pt x="6467576" y="2408384"/>
                  </a:moveTo>
                  <a:lnTo>
                    <a:pt x="6748083" y="2894217"/>
                  </a:lnTo>
                  <a:lnTo>
                    <a:pt x="6467409" y="3380326"/>
                  </a:lnTo>
                  <a:lnTo>
                    <a:pt x="5906173" y="3380326"/>
                  </a:lnTo>
                  <a:lnTo>
                    <a:pt x="5625554" y="2894272"/>
                  </a:lnTo>
                  <a:lnTo>
                    <a:pt x="5906006" y="2408384"/>
                  </a:lnTo>
                  <a:close/>
                  <a:moveTo>
                    <a:pt x="2185610" y="1914628"/>
                  </a:moveTo>
                  <a:lnTo>
                    <a:pt x="2466229" y="2400572"/>
                  </a:lnTo>
                  <a:lnTo>
                    <a:pt x="2423402" y="2474702"/>
                  </a:lnTo>
                  <a:lnTo>
                    <a:pt x="2185555" y="2886737"/>
                  </a:lnTo>
                  <a:lnTo>
                    <a:pt x="1624318" y="2886737"/>
                  </a:lnTo>
                  <a:lnTo>
                    <a:pt x="1344087" y="2401292"/>
                  </a:lnTo>
                  <a:lnTo>
                    <a:pt x="1625093" y="1914628"/>
                  </a:lnTo>
                  <a:close/>
                  <a:moveTo>
                    <a:pt x="3898186" y="1914462"/>
                  </a:moveTo>
                  <a:lnTo>
                    <a:pt x="4178804" y="2400461"/>
                  </a:lnTo>
                  <a:lnTo>
                    <a:pt x="3898241" y="2886349"/>
                  </a:lnTo>
                  <a:lnTo>
                    <a:pt x="3337115" y="2886349"/>
                  </a:lnTo>
                  <a:lnTo>
                    <a:pt x="3056441" y="2400295"/>
                  </a:lnTo>
                  <a:lnTo>
                    <a:pt x="3336949" y="1914462"/>
                  </a:lnTo>
                  <a:close/>
                  <a:moveTo>
                    <a:pt x="5610872" y="1914185"/>
                  </a:moveTo>
                  <a:lnTo>
                    <a:pt x="5891491" y="2400240"/>
                  </a:lnTo>
                  <a:lnTo>
                    <a:pt x="5610983" y="2886072"/>
                  </a:lnTo>
                  <a:lnTo>
                    <a:pt x="5049469" y="2886072"/>
                  </a:lnTo>
                  <a:lnTo>
                    <a:pt x="4768962" y="2400295"/>
                  </a:lnTo>
                  <a:lnTo>
                    <a:pt x="5049635" y="1914185"/>
                  </a:lnTo>
                  <a:close/>
                  <a:moveTo>
                    <a:pt x="7323669" y="1913853"/>
                  </a:moveTo>
                  <a:lnTo>
                    <a:pt x="7604232" y="2399852"/>
                  </a:lnTo>
                  <a:lnTo>
                    <a:pt x="7323669" y="2885740"/>
                  </a:lnTo>
                  <a:lnTo>
                    <a:pt x="6762377" y="2885740"/>
                  </a:lnTo>
                  <a:lnTo>
                    <a:pt x="6481870" y="2399741"/>
                  </a:lnTo>
                  <a:lnTo>
                    <a:pt x="6762322" y="1913853"/>
                  </a:lnTo>
                  <a:close/>
                  <a:moveTo>
                    <a:pt x="1330015" y="1420652"/>
                  </a:moveTo>
                  <a:lnTo>
                    <a:pt x="1610135" y="1905930"/>
                  </a:lnTo>
                  <a:lnTo>
                    <a:pt x="1329073" y="2392594"/>
                  </a:lnTo>
                  <a:lnTo>
                    <a:pt x="768723" y="2392594"/>
                  </a:lnTo>
                  <a:lnTo>
                    <a:pt x="487993" y="1906429"/>
                  </a:lnTo>
                  <a:lnTo>
                    <a:pt x="768446" y="1420652"/>
                  </a:lnTo>
                  <a:close/>
                  <a:moveTo>
                    <a:pt x="4754612" y="1420208"/>
                  </a:moveTo>
                  <a:lnTo>
                    <a:pt x="5035175" y="1906096"/>
                  </a:lnTo>
                  <a:lnTo>
                    <a:pt x="4754391" y="2392151"/>
                  </a:lnTo>
                  <a:lnTo>
                    <a:pt x="4193375" y="2392151"/>
                  </a:lnTo>
                  <a:lnTo>
                    <a:pt x="3912646" y="1905986"/>
                  </a:lnTo>
                  <a:lnTo>
                    <a:pt x="4193098" y="1420208"/>
                  </a:lnTo>
                  <a:close/>
                  <a:moveTo>
                    <a:pt x="3041704" y="1420097"/>
                  </a:moveTo>
                  <a:lnTo>
                    <a:pt x="3322322" y="1906207"/>
                  </a:lnTo>
                  <a:lnTo>
                    <a:pt x="3041925" y="2391985"/>
                  </a:lnTo>
                  <a:lnTo>
                    <a:pt x="2480523" y="2391985"/>
                  </a:lnTo>
                  <a:lnTo>
                    <a:pt x="2200347" y="1906706"/>
                  </a:lnTo>
                  <a:lnTo>
                    <a:pt x="2481187" y="1420097"/>
                  </a:lnTo>
                  <a:close/>
                  <a:moveTo>
                    <a:pt x="6467243" y="1419654"/>
                  </a:moveTo>
                  <a:lnTo>
                    <a:pt x="6747862" y="1905597"/>
                  </a:lnTo>
                  <a:lnTo>
                    <a:pt x="6467409" y="2391486"/>
                  </a:lnTo>
                  <a:lnTo>
                    <a:pt x="5905785" y="2391486"/>
                  </a:lnTo>
                  <a:lnTo>
                    <a:pt x="5625333" y="1905708"/>
                  </a:lnTo>
                  <a:lnTo>
                    <a:pt x="5735696" y="1714456"/>
                  </a:lnTo>
                  <a:lnTo>
                    <a:pt x="5905950" y="1419654"/>
                  </a:lnTo>
                  <a:close/>
                  <a:moveTo>
                    <a:pt x="8180151" y="1419654"/>
                  </a:moveTo>
                  <a:lnTo>
                    <a:pt x="8460603" y="1905487"/>
                  </a:lnTo>
                  <a:lnTo>
                    <a:pt x="8179984" y="2391652"/>
                  </a:lnTo>
                  <a:lnTo>
                    <a:pt x="7618914" y="2391652"/>
                  </a:lnTo>
                  <a:lnTo>
                    <a:pt x="7338130" y="1905432"/>
                  </a:lnTo>
                  <a:lnTo>
                    <a:pt x="7618582" y="1419654"/>
                  </a:lnTo>
                  <a:close/>
                  <a:moveTo>
                    <a:pt x="2186164" y="926120"/>
                  </a:moveTo>
                  <a:lnTo>
                    <a:pt x="2466395" y="1411344"/>
                  </a:lnTo>
                  <a:lnTo>
                    <a:pt x="2185555" y="1897952"/>
                  </a:lnTo>
                  <a:lnTo>
                    <a:pt x="1624817" y="1897952"/>
                  </a:lnTo>
                  <a:lnTo>
                    <a:pt x="1344253" y="1412064"/>
                  </a:lnTo>
                  <a:lnTo>
                    <a:pt x="1624817" y="926120"/>
                  </a:lnTo>
                  <a:close/>
                  <a:moveTo>
                    <a:pt x="3897853" y="925677"/>
                  </a:moveTo>
                  <a:lnTo>
                    <a:pt x="4178583" y="1411842"/>
                  </a:lnTo>
                  <a:lnTo>
                    <a:pt x="3898186" y="1897620"/>
                  </a:lnTo>
                  <a:lnTo>
                    <a:pt x="3336838" y="1897620"/>
                  </a:lnTo>
                  <a:lnTo>
                    <a:pt x="3056607" y="1412174"/>
                  </a:lnTo>
                  <a:lnTo>
                    <a:pt x="3337503" y="925677"/>
                  </a:lnTo>
                  <a:close/>
                  <a:moveTo>
                    <a:pt x="5610872" y="925622"/>
                  </a:moveTo>
                  <a:lnTo>
                    <a:pt x="5891380" y="1411455"/>
                  </a:lnTo>
                  <a:lnTo>
                    <a:pt x="5710376" y="1725093"/>
                  </a:lnTo>
                  <a:lnTo>
                    <a:pt x="5610761" y="1897453"/>
                  </a:lnTo>
                  <a:lnTo>
                    <a:pt x="5049414" y="1897453"/>
                  </a:lnTo>
                  <a:lnTo>
                    <a:pt x="4768851" y="1411565"/>
                  </a:lnTo>
                  <a:lnTo>
                    <a:pt x="5049469" y="925622"/>
                  </a:lnTo>
                  <a:close/>
                  <a:moveTo>
                    <a:pt x="7323392" y="925123"/>
                  </a:moveTo>
                  <a:lnTo>
                    <a:pt x="7604121" y="1411344"/>
                  </a:lnTo>
                  <a:lnTo>
                    <a:pt x="7323558" y="1896955"/>
                  </a:lnTo>
                  <a:lnTo>
                    <a:pt x="6762100" y="1896955"/>
                  </a:lnTo>
                  <a:lnTo>
                    <a:pt x="6481537" y="1411178"/>
                  </a:lnTo>
                  <a:lnTo>
                    <a:pt x="6591069" y="1221532"/>
                  </a:lnTo>
                  <a:lnTo>
                    <a:pt x="6762266" y="925123"/>
                  </a:lnTo>
                  <a:close/>
                  <a:moveTo>
                    <a:pt x="9036411" y="925068"/>
                  </a:moveTo>
                  <a:lnTo>
                    <a:pt x="9316919" y="1410955"/>
                  </a:lnTo>
                  <a:lnTo>
                    <a:pt x="9036245" y="1896955"/>
                  </a:lnTo>
                  <a:lnTo>
                    <a:pt x="8475008" y="1896955"/>
                  </a:lnTo>
                  <a:lnTo>
                    <a:pt x="8194389" y="1411066"/>
                  </a:lnTo>
                  <a:lnTo>
                    <a:pt x="8475008" y="925068"/>
                  </a:lnTo>
                  <a:close/>
                  <a:moveTo>
                    <a:pt x="1329738" y="432032"/>
                  </a:moveTo>
                  <a:lnTo>
                    <a:pt x="1610245" y="917810"/>
                  </a:lnTo>
                  <a:lnTo>
                    <a:pt x="1329627" y="1403864"/>
                  </a:lnTo>
                  <a:lnTo>
                    <a:pt x="768446" y="1403864"/>
                  </a:lnTo>
                  <a:lnTo>
                    <a:pt x="487827" y="917810"/>
                  </a:lnTo>
                  <a:lnTo>
                    <a:pt x="768335" y="432032"/>
                  </a:lnTo>
                  <a:close/>
                  <a:moveTo>
                    <a:pt x="3042369" y="431534"/>
                  </a:moveTo>
                  <a:lnTo>
                    <a:pt x="3322599" y="916979"/>
                  </a:lnTo>
                  <a:lnTo>
                    <a:pt x="3041704" y="1403366"/>
                  </a:lnTo>
                  <a:lnTo>
                    <a:pt x="2481187" y="1403366"/>
                  </a:lnTo>
                  <a:lnTo>
                    <a:pt x="2200569" y="917422"/>
                  </a:lnTo>
                  <a:lnTo>
                    <a:pt x="2481021" y="431534"/>
                  </a:lnTo>
                  <a:close/>
                  <a:moveTo>
                    <a:pt x="4754335" y="431534"/>
                  </a:moveTo>
                  <a:lnTo>
                    <a:pt x="5034898" y="917477"/>
                  </a:lnTo>
                  <a:lnTo>
                    <a:pt x="4754169" y="1403366"/>
                  </a:lnTo>
                  <a:lnTo>
                    <a:pt x="4193043" y="1403366"/>
                  </a:lnTo>
                  <a:lnTo>
                    <a:pt x="3912701" y="917810"/>
                  </a:lnTo>
                  <a:lnTo>
                    <a:pt x="4193541" y="431534"/>
                  </a:lnTo>
                  <a:close/>
                  <a:moveTo>
                    <a:pt x="6467243" y="431090"/>
                  </a:moveTo>
                  <a:lnTo>
                    <a:pt x="6747695" y="916979"/>
                  </a:lnTo>
                  <a:lnTo>
                    <a:pt x="6693400" y="1011054"/>
                  </a:lnTo>
                  <a:lnTo>
                    <a:pt x="6467077" y="1403033"/>
                  </a:lnTo>
                  <a:lnTo>
                    <a:pt x="5905729" y="1403033"/>
                  </a:lnTo>
                  <a:lnTo>
                    <a:pt x="5625166" y="916979"/>
                  </a:lnTo>
                  <a:lnTo>
                    <a:pt x="5905674" y="431090"/>
                  </a:lnTo>
                  <a:close/>
                  <a:moveTo>
                    <a:pt x="8179874" y="431035"/>
                  </a:moveTo>
                  <a:lnTo>
                    <a:pt x="8460326" y="916812"/>
                  </a:lnTo>
                  <a:lnTo>
                    <a:pt x="8179818" y="1402867"/>
                  </a:lnTo>
                  <a:lnTo>
                    <a:pt x="7618582" y="1402867"/>
                  </a:lnTo>
                  <a:lnTo>
                    <a:pt x="7337963" y="916812"/>
                  </a:lnTo>
                  <a:lnTo>
                    <a:pt x="7618471" y="431035"/>
                  </a:lnTo>
                  <a:close/>
                  <a:moveTo>
                    <a:pt x="9892505" y="430592"/>
                  </a:moveTo>
                  <a:lnTo>
                    <a:pt x="10173123" y="916536"/>
                  </a:lnTo>
                  <a:lnTo>
                    <a:pt x="9892560" y="1402534"/>
                  </a:lnTo>
                  <a:lnTo>
                    <a:pt x="9331323" y="1402534"/>
                  </a:lnTo>
                  <a:lnTo>
                    <a:pt x="9050650" y="916424"/>
                  </a:lnTo>
                  <a:lnTo>
                    <a:pt x="9331157" y="430592"/>
                  </a:lnTo>
                  <a:close/>
                  <a:moveTo>
                    <a:pt x="11863054" y="0"/>
                  </a:moveTo>
                  <a:lnTo>
                    <a:pt x="11843939" y="0"/>
                  </a:lnTo>
                  <a:lnTo>
                    <a:pt x="11604970" y="413916"/>
                  </a:lnTo>
                  <a:lnTo>
                    <a:pt x="11043788" y="413916"/>
                  </a:lnTo>
                  <a:lnTo>
                    <a:pt x="10804853" y="0"/>
                  </a:lnTo>
                  <a:lnTo>
                    <a:pt x="10785529" y="0"/>
                  </a:lnTo>
                  <a:lnTo>
                    <a:pt x="11029217" y="422170"/>
                  </a:lnTo>
                  <a:lnTo>
                    <a:pt x="10748654" y="908114"/>
                  </a:lnTo>
                  <a:lnTo>
                    <a:pt x="10187639" y="908114"/>
                  </a:lnTo>
                  <a:lnTo>
                    <a:pt x="9906965" y="421949"/>
                  </a:lnTo>
                  <a:lnTo>
                    <a:pt x="10150539" y="0"/>
                  </a:lnTo>
                  <a:lnTo>
                    <a:pt x="10131190" y="0"/>
                  </a:lnTo>
                  <a:lnTo>
                    <a:pt x="9892339" y="413638"/>
                  </a:lnTo>
                  <a:lnTo>
                    <a:pt x="9330991" y="413638"/>
                  </a:lnTo>
                  <a:lnTo>
                    <a:pt x="9092139" y="0"/>
                  </a:lnTo>
                  <a:lnTo>
                    <a:pt x="9072826" y="0"/>
                  </a:lnTo>
                  <a:lnTo>
                    <a:pt x="9316642" y="422392"/>
                  </a:lnTo>
                  <a:lnTo>
                    <a:pt x="9036189" y="908170"/>
                  </a:lnTo>
                  <a:lnTo>
                    <a:pt x="8474731" y="908170"/>
                  </a:lnTo>
                  <a:lnTo>
                    <a:pt x="8194168" y="422503"/>
                  </a:lnTo>
                  <a:lnTo>
                    <a:pt x="8438136" y="0"/>
                  </a:lnTo>
                  <a:lnTo>
                    <a:pt x="8418811" y="0"/>
                  </a:lnTo>
                  <a:lnTo>
                    <a:pt x="8179597" y="414303"/>
                  </a:lnTo>
                  <a:lnTo>
                    <a:pt x="7618582" y="414303"/>
                  </a:lnTo>
                  <a:lnTo>
                    <a:pt x="7379274" y="0"/>
                  </a:lnTo>
                  <a:lnTo>
                    <a:pt x="7359940" y="0"/>
                  </a:lnTo>
                  <a:lnTo>
                    <a:pt x="7603955" y="422558"/>
                  </a:lnTo>
                  <a:lnTo>
                    <a:pt x="7323337" y="908447"/>
                  </a:lnTo>
                  <a:lnTo>
                    <a:pt x="6762100" y="908447"/>
                  </a:lnTo>
                  <a:lnTo>
                    <a:pt x="6481482" y="422503"/>
                  </a:lnTo>
                  <a:lnTo>
                    <a:pt x="6725445" y="0"/>
                  </a:lnTo>
                  <a:lnTo>
                    <a:pt x="6706132" y="0"/>
                  </a:lnTo>
                  <a:lnTo>
                    <a:pt x="6466910" y="414303"/>
                  </a:lnTo>
                  <a:lnTo>
                    <a:pt x="5905508" y="414303"/>
                  </a:lnTo>
                  <a:lnTo>
                    <a:pt x="5666338" y="0"/>
                  </a:lnTo>
                  <a:lnTo>
                    <a:pt x="5646974" y="0"/>
                  </a:lnTo>
                  <a:lnTo>
                    <a:pt x="5891214" y="422946"/>
                  </a:lnTo>
                  <a:lnTo>
                    <a:pt x="5618463" y="895261"/>
                  </a:lnTo>
                  <a:lnTo>
                    <a:pt x="5610706" y="908835"/>
                  </a:lnTo>
                  <a:lnTo>
                    <a:pt x="5049192" y="908835"/>
                  </a:lnTo>
                  <a:lnTo>
                    <a:pt x="4769017" y="423556"/>
                  </a:lnTo>
                  <a:lnTo>
                    <a:pt x="5013591" y="0"/>
                  </a:lnTo>
                  <a:lnTo>
                    <a:pt x="4993649" y="0"/>
                  </a:lnTo>
                  <a:lnTo>
                    <a:pt x="4754058" y="414857"/>
                  </a:lnTo>
                  <a:lnTo>
                    <a:pt x="4193652" y="414857"/>
                  </a:lnTo>
                  <a:lnTo>
                    <a:pt x="3954146" y="0"/>
                  </a:lnTo>
                  <a:lnTo>
                    <a:pt x="3934827" y="0"/>
                  </a:lnTo>
                  <a:lnTo>
                    <a:pt x="4178860" y="422669"/>
                  </a:lnTo>
                  <a:lnTo>
                    <a:pt x="3898186" y="909056"/>
                  </a:lnTo>
                  <a:lnTo>
                    <a:pt x="3337503" y="909056"/>
                  </a:lnTo>
                  <a:lnTo>
                    <a:pt x="3056829" y="422946"/>
                  </a:lnTo>
                  <a:lnTo>
                    <a:pt x="3300979" y="0"/>
                  </a:lnTo>
                  <a:lnTo>
                    <a:pt x="3281513" y="0"/>
                  </a:lnTo>
                  <a:lnTo>
                    <a:pt x="3042203" y="414691"/>
                  </a:lnTo>
                  <a:lnTo>
                    <a:pt x="2480855" y="414691"/>
                  </a:lnTo>
                  <a:lnTo>
                    <a:pt x="2241403" y="0"/>
                  </a:lnTo>
                  <a:lnTo>
                    <a:pt x="2222087" y="0"/>
                  </a:lnTo>
                  <a:lnTo>
                    <a:pt x="2466505" y="423389"/>
                  </a:lnTo>
                  <a:lnTo>
                    <a:pt x="2214697" y="859580"/>
                  </a:lnTo>
                  <a:lnTo>
                    <a:pt x="2186053" y="909278"/>
                  </a:lnTo>
                  <a:lnTo>
                    <a:pt x="1624539" y="909278"/>
                  </a:lnTo>
                  <a:lnTo>
                    <a:pt x="1344087" y="423445"/>
                  </a:lnTo>
                  <a:lnTo>
                    <a:pt x="1588559" y="0"/>
                  </a:lnTo>
                  <a:lnTo>
                    <a:pt x="1569223" y="0"/>
                  </a:lnTo>
                  <a:lnTo>
                    <a:pt x="1329461" y="415301"/>
                  </a:lnTo>
                  <a:lnTo>
                    <a:pt x="768446" y="415301"/>
                  </a:lnTo>
                  <a:lnTo>
                    <a:pt x="528589" y="0"/>
                  </a:lnTo>
                  <a:lnTo>
                    <a:pt x="509180" y="0"/>
                  </a:lnTo>
                  <a:lnTo>
                    <a:pt x="753764" y="423667"/>
                  </a:lnTo>
                  <a:lnTo>
                    <a:pt x="473201" y="909444"/>
                  </a:lnTo>
                  <a:lnTo>
                    <a:pt x="0" y="909444"/>
                  </a:lnTo>
                  <a:lnTo>
                    <a:pt x="0" y="926120"/>
                  </a:lnTo>
                  <a:lnTo>
                    <a:pt x="473201" y="926120"/>
                  </a:lnTo>
                  <a:lnTo>
                    <a:pt x="754041" y="1412285"/>
                  </a:lnTo>
                  <a:lnTo>
                    <a:pt x="473533" y="1898063"/>
                  </a:lnTo>
                  <a:lnTo>
                    <a:pt x="0" y="1898063"/>
                  </a:lnTo>
                  <a:lnTo>
                    <a:pt x="0" y="1914850"/>
                  </a:lnTo>
                  <a:lnTo>
                    <a:pt x="473533" y="1914850"/>
                  </a:lnTo>
                  <a:lnTo>
                    <a:pt x="753875" y="2400517"/>
                  </a:lnTo>
                  <a:lnTo>
                    <a:pt x="473201" y="2886737"/>
                  </a:lnTo>
                  <a:lnTo>
                    <a:pt x="0" y="2886737"/>
                  </a:lnTo>
                  <a:lnTo>
                    <a:pt x="0" y="2903414"/>
                  </a:lnTo>
                  <a:lnTo>
                    <a:pt x="472924" y="2903414"/>
                  </a:lnTo>
                  <a:lnTo>
                    <a:pt x="753597" y="3389579"/>
                  </a:lnTo>
                  <a:lnTo>
                    <a:pt x="473201" y="3875245"/>
                  </a:lnTo>
                  <a:lnTo>
                    <a:pt x="0" y="3875245"/>
                  </a:lnTo>
                  <a:lnTo>
                    <a:pt x="0" y="3892032"/>
                  </a:lnTo>
                  <a:lnTo>
                    <a:pt x="473367" y="3892032"/>
                  </a:lnTo>
                  <a:lnTo>
                    <a:pt x="753875" y="4377921"/>
                  </a:lnTo>
                  <a:lnTo>
                    <a:pt x="473201" y="4863975"/>
                  </a:lnTo>
                  <a:lnTo>
                    <a:pt x="0" y="4863975"/>
                  </a:lnTo>
                  <a:lnTo>
                    <a:pt x="0" y="4880651"/>
                  </a:lnTo>
                  <a:lnTo>
                    <a:pt x="473422" y="4880651"/>
                  </a:lnTo>
                  <a:lnTo>
                    <a:pt x="754041" y="5366650"/>
                  </a:lnTo>
                  <a:lnTo>
                    <a:pt x="473478" y="5852538"/>
                  </a:lnTo>
                  <a:lnTo>
                    <a:pt x="0" y="5852538"/>
                  </a:lnTo>
                  <a:lnTo>
                    <a:pt x="0" y="5869436"/>
                  </a:lnTo>
                  <a:lnTo>
                    <a:pt x="473699" y="5869436"/>
                  </a:lnTo>
                  <a:lnTo>
                    <a:pt x="754262" y="6355158"/>
                  </a:lnTo>
                  <a:lnTo>
                    <a:pt x="473644" y="6841324"/>
                  </a:lnTo>
                  <a:lnTo>
                    <a:pt x="0" y="6841324"/>
                  </a:lnTo>
                  <a:lnTo>
                    <a:pt x="0" y="6858000"/>
                  </a:lnTo>
                  <a:lnTo>
                    <a:pt x="483173" y="6858000"/>
                  </a:lnTo>
                  <a:lnTo>
                    <a:pt x="773377" y="6355214"/>
                  </a:lnTo>
                  <a:lnTo>
                    <a:pt x="487938" y="5860849"/>
                  </a:lnTo>
                  <a:lnTo>
                    <a:pt x="773266" y="5366761"/>
                  </a:lnTo>
                  <a:lnTo>
                    <a:pt x="487716" y="4872175"/>
                  </a:lnTo>
                  <a:lnTo>
                    <a:pt x="773099" y="4378031"/>
                  </a:lnTo>
                  <a:lnTo>
                    <a:pt x="487606" y="3883611"/>
                  </a:lnTo>
                  <a:lnTo>
                    <a:pt x="768002" y="3398111"/>
                  </a:lnTo>
                  <a:lnTo>
                    <a:pt x="1338990" y="3398111"/>
                  </a:lnTo>
                  <a:lnTo>
                    <a:pt x="1624539" y="2903469"/>
                  </a:lnTo>
                  <a:lnTo>
                    <a:pt x="2185943" y="2903469"/>
                  </a:lnTo>
                  <a:lnTo>
                    <a:pt x="2466505" y="3389246"/>
                  </a:lnTo>
                  <a:lnTo>
                    <a:pt x="2185887" y="3875245"/>
                  </a:lnTo>
                  <a:lnTo>
                    <a:pt x="1615010" y="3875245"/>
                  </a:lnTo>
                  <a:lnTo>
                    <a:pt x="1324807" y="4378031"/>
                  </a:lnTo>
                  <a:lnTo>
                    <a:pt x="1610245" y="4872396"/>
                  </a:lnTo>
                  <a:lnTo>
                    <a:pt x="1324973" y="5366595"/>
                  </a:lnTo>
                  <a:lnTo>
                    <a:pt x="1615232" y="5869215"/>
                  </a:lnTo>
                  <a:lnTo>
                    <a:pt x="2195693" y="5869215"/>
                  </a:lnTo>
                  <a:lnTo>
                    <a:pt x="2485952" y="5366539"/>
                  </a:lnTo>
                  <a:lnTo>
                    <a:pt x="2200403" y="4872064"/>
                  </a:lnTo>
                  <a:lnTo>
                    <a:pt x="2481021" y="4386120"/>
                  </a:lnTo>
                  <a:lnTo>
                    <a:pt x="3042369" y="4386120"/>
                  </a:lnTo>
                  <a:lnTo>
                    <a:pt x="3327641" y="4880263"/>
                  </a:lnTo>
                  <a:lnTo>
                    <a:pt x="3908214" y="4880263"/>
                  </a:lnTo>
                  <a:lnTo>
                    <a:pt x="4193541" y="4386120"/>
                  </a:lnTo>
                  <a:lnTo>
                    <a:pt x="4764474" y="4386120"/>
                  </a:lnTo>
                  <a:lnTo>
                    <a:pt x="5050023" y="3891478"/>
                  </a:lnTo>
                  <a:lnTo>
                    <a:pt x="5620734" y="3891478"/>
                  </a:lnTo>
                  <a:lnTo>
                    <a:pt x="5906173" y="3396948"/>
                  </a:lnTo>
                  <a:lnTo>
                    <a:pt x="6476938" y="3396948"/>
                  </a:lnTo>
                  <a:lnTo>
                    <a:pt x="6762488" y="2902416"/>
                  </a:lnTo>
                  <a:lnTo>
                    <a:pt x="7333199" y="2902416"/>
                  </a:lnTo>
                  <a:lnTo>
                    <a:pt x="7618637" y="2408218"/>
                  </a:lnTo>
                  <a:lnTo>
                    <a:pt x="8189569" y="2408218"/>
                  </a:lnTo>
                  <a:lnTo>
                    <a:pt x="8475063" y="1913631"/>
                  </a:lnTo>
                  <a:lnTo>
                    <a:pt x="9045830" y="1913631"/>
                  </a:lnTo>
                  <a:lnTo>
                    <a:pt x="9331379" y="1419100"/>
                  </a:lnTo>
                  <a:lnTo>
                    <a:pt x="9902145" y="1419100"/>
                  </a:lnTo>
                  <a:lnTo>
                    <a:pt x="10187584" y="924680"/>
                  </a:lnTo>
                  <a:lnTo>
                    <a:pt x="10758184" y="924680"/>
                  </a:lnTo>
                  <a:lnTo>
                    <a:pt x="11043511" y="430537"/>
                  </a:lnTo>
                  <a:lnTo>
                    <a:pt x="11614444" y="430537"/>
                  </a:lnTo>
                  <a:close/>
                </a:path>
              </a:pathLst>
            </a:custGeom>
            <a:solidFill>
              <a:srgbClr val="B2B2B2">
                <a:alpha val="15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endParaRPr>
            </a:p>
          </p:txBody>
        </p:sp>
      </p:grpSp>
      <p:pic>
        <p:nvPicPr>
          <p:cNvPr id="39" name="Picture 19" descr="Gavi-logo - The Rockefeller Foundation">
            <a:extLst>
              <a:ext uri="{FF2B5EF4-FFF2-40B4-BE49-F238E27FC236}">
                <a16:creationId xmlns:a16="http://schemas.microsoft.com/office/drawing/2014/main" id="{344CFC41-0FC4-4E79-AD13-21411F6B79B0}"/>
              </a:ext>
            </a:extLst>
          </p:cNvPr>
          <p:cNvPicPr>
            <a:picLocks noChangeAspect="1" noChangeArrowheads="1"/>
          </p:cNvPicPr>
          <p:nvPr userDrawn="1"/>
        </p:nvPicPr>
        <p:blipFill rotWithShape="1">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r="-945"/>
          <a:stretch/>
        </p:blipFill>
        <p:spPr bwMode="ltGray">
          <a:xfrm>
            <a:off x="525802" y="2586861"/>
            <a:ext cx="1525462" cy="566694"/>
          </a:xfrm>
          <a:prstGeom prst="rect">
            <a:avLst/>
          </a:prstGeom>
          <a:extLst>
            <a:ext uri="{909E8E84-426E-40DD-AFC4-6F175D3DCCD1}">
              <a14:hiddenFill xmlns:a14="http://schemas.microsoft.com/office/drawing/2010/main">
                <a:solidFill>
                  <a:srgbClr val="FFFFFF"/>
                </a:solidFill>
              </a14:hiddenFill>
            </a:ext>
          </a:extLst>
        </p:spPr>
      </p:pic>
      <p:pic>
        <p:nvPicPr>
          <p:cNvPr id="40" name="Picture 39" descr="World Health Organization (WHO) – Logos Download">
            <a:extLst>
              <a:ext uri="{FF2B5EF4-FFF2-40B4-BE49-F238E27FC236}">
                <a16:creationId xmlns:a16="http://schemas.microsoft.com/office/drawing/2014/main" id="{6B9B686F-C919-48C3-8CFD-4F800B703AC2}"/>
              </a:ext>
            </a:extLst>
          </p:cNvPr>
          <p:cNvPicPr>
            <a:picLocks noChangeAspect="1" noChangeArrowheads="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ltGray">
          <a:xfrm>
            <a:off x="2533703" y="2578553"/>
            <a:ext cx="2135706" cy="630143"/>
          </a:xfrm>
          <a:prstGeom prst="rect">
            <a:avLst/>
          </a:prstGeom>
          <a:extLst>
            <a:ext uri="{909E8E84-426E-40DD-AFC4-6F175D3DCCD1}">
              <a14:hiddenFill xmlns:a14="http://schemas.microsoft.com/office/drawing/2010/main">
                <a:solidFill>
                  <a:srgbClr val="FFFFFF"/>
                </a:solidFill>
              </a14:hiddenFill>
            </a:ext>
          </a:extLst>
        </p:spPr>
      </p:pic>
      <p:pic>
        <p:nvPicPr>
          <p:cNvPr id="41" name="Picture 23" descr="Coalition for Epidemic Preparedness Innovations - Wikiwand">
            <a:extLst>
              <a:ext uri="{FF2B5EF4-FFF2-40B4-BE49-F238E27FC236}">
                <a16:creationId xmlns:a16="http://schemas.microsoft.com/office/drawing/2014/main" id="{F94A8244-5EF7-4001-9115-069A28850807}"/>
              </a:ext>
            </a:extLst>
          </p:cNvPr>
          <p:cNvPicPr>
            <a:picLocks noChangeAspect="1" noChangeArrowheads="1"/>
          </p:cNvPicPr>
          <p:nvPr userDrawn="1"/>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ltGray">
          <a:xfrm>
            <a:off x="525802" y="1783462"/>
            <a:ext cx="1354280" cy="398160"/>
          </a:xfrm>
          <a:prstGeom prst="rect">
            <a:avLst/>
          </a:prstGeom>
          <a:extLst>
            <a:ext uri="{909E8E84-426E-40DD-AFC4-6F175D3DCCD1}">
              <a14:hiddenFill xmlns:a14="http://schemas.microsoft.com/office/drawing/2010/main">
                <a:solidFill>
                  <a:srgbClr val="FFFFFF"/>
                </a:solidFill>
              </a14:hiddenFill>
            </a:ext>
          </a:extLst>
        </p:spPr>
      </p:pic>
      <p:pic>
        <p:nvPicPr>
          <p:cNvPr id="42" name="Picture 19" descr="Gavi-logo - The Rockefeller Foundation">
            <a:extLst>
              <a:ext uri="{FF2B5EF4-FFF2-40B4-BE49-F238E27FC236}">
                <a16:creationId xmlns:a16="http://schemas.microsoft.com/office/drawing/2014/main" id="{FD11B72A-63E0-47FB-A675-254CBD0D8C7B}"/>
              </a:ext>
            </a:extLst>
          </p:cNvPr>
          <p:cNvPicPr>
            <a:picLocks noChangeAspect="1" noChangeArrowheads="1"/>
          </p:cNvPicPr>
          <p:nvPr userDrawn="1"/>
        </p:nvPicPr>
        <p:blipFill rotWithShape="1">
          <a:blip r:embed="rId16" cstate="print">
            <a:extLst>
              <a:ext uri="{28A0092B-C50C-407E-A947-70E740481C1C}">
                <a14:useLocalDpi xmlns:a14="http://schemas.microsoft.com/office/drawing/2010/main" val="0"/>
              </a:ext>
            </a:extLst>
          </a:blip>
          <a:srcRect l="60592" r="-945"/>
          <a:stretch/>
        </p:blipFill>
        <p:spPr bwMode="ltGray">
          <a:xfrm>
            <a:off x="1441450" y="2586861"/>
            <a:ext cx="609814" cy="566694"/>
          </a:xfrm>
          <a:prstGeom prst="rect">
            <a:avLst/>
          </a:prstGeom>
          <a:extLst>
            <a:ext uri="{909E8E84-426E-40DD-AFC4-6F175D3DCCD1}">
              <a14:hiddenFill xmlns:a14="http://schemas.microsoft.com/office/drawing/2010/main">
                <a:solidFill>
                  <a:srgbClr val="FFFFFF"/>
                </a:solidFill>
              </a14:hiddenFill>
            </a:ext>
          </a:extLst>
        </p:spPr>
      </p:pic>
      <p:sp>
        <p:nvSpPr>
          <p:cNvPr id="43" name="Documenttype">
            <a:extLst>
              <a:ext uri="{FF2B5EF4-FFF2-40B4-BE49-F238E27FC236}">
                <a16:creationId xmlns:a16="http://schemas.microsoft.com/office/drawing/2014/main" id="{3EE52C29-C02D-4128-8EC4-D7704F53266B}"/>
              </a:ext>
            </a:extLst>
          </p:cNvPr>
          <p:cNvSpPr>
            <a:spLocks noGrp="1"/>
          </p:cNvSpPr>
          <p:nvPr>
            <p:ph type="body" sz="quarter" idx="13" hasCustomPrompt="1"/>
            <p:custDataLst>
              <p:tags r:id="rId4"/>
            </p:custDataLst>
          </p:nvPr>
        </p:nvSpPr>
        <p:spPr>
          <a:xfrm>
            <a:off x="525802" y="6312004"/>
            <a:ext cx="66031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44" name="Subtitle">
            <a:extLst>
              <a:ext uri="{FF2B5EF4-FFF2-40B4-BE49-F238E27FC236}">
                <a16:creationId xmlns:a16="http://schemas.microsoft.com/office/drawing/2014/main" id="{F6D9F1C3-5681-45D6-87C2-9A221364105B}"/>
              </a:ext>
            </a:extLst>
          </p:cNvPr>
          <p:cNvSpPr>
            <a:spLocks noGrp="1"/>
          </p:cNvSpPr>
          <p:nvPr>
            <p:ph type="subTitle" idx="1"/>
            <p:custDataLst>
              <p:tags r:id="rId5"/>
            </p:custDataLst>
          </p:nvPr>
        </p:nvSpPr>
        <p:spPr>
          <a:xfrm>
            <a:off x="525802" y="5901632"/>
            <a:ext cx="66031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dirty="0"/>
              <a:t>Click to edit Master subtitle style</a:t>
            </a:r>
          </a:p>
        </p:txBody>
      </p:sp>
      <p:sp>
        <p:nvSpPr>
          <p:cNvPr id="45" name="Title">
            <a:extLst>
              <a:ext uri="{FF2B5EF4-FFF2-40B4-BE49-F238E27FC236}">
                <a16:creationId xmlns:a16="http://schemas.microsoft.com/office/drawing/2014/main" id="{B2E3D185-964C-4514-8A5D-8FCCD3C07190}"/>
              </a:ext>
            </a:extLst>
          </p:cNvPr>
          <p:cNvSpPr>
            <a:spLocks noGrp="1"/>
          </p:cNvSpPr>
          <p:nvPr>
            <p:ph type="title"/>
            <p:custDataLst>
              <p:tags r:id="rId6"/>
            </p:custDataLst>
          </p:nvPr>
        </p:nvSpPr>
        <p:spPr>
          <a:xfrm>
            <a:off x="525802" y="3952377"/>
            <a:ext cx="6603131"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defRPr>
            </a:lvl1pPr>
          </a:lstStyle>
          <a:p>
            <a:pPr lvl="0"/>
            <a:r>
              <a:rPr lang="en-US" dirty="0"/>
              <a:t>Click to edit Master title style</a:t>
            </a:r>
          </a:p>
        </p:txBody>
      </p:sp>
    </p:spTree>
    <p:extLst>
      <p:ext uri="{BB962C8B-B14F-4D97-AF65-F5344CB8AC3E}">
        <p14:creationId xmlns:p14="http://schemas.microsoft.com/office/powerpoint/2010/main" val="19363411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27907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727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ED3A330D-704F-4050-81F6-50A136E7860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572142"/>
            <a:ext cx="11082528" cy="276999"/>
          </a:xfrm>
          <a:prstGeom prst="rect">
            <a:avLst/>
          </a:prstGeom>
        </p:spPr>
        <p:txBody>
          <a:bodyPr vert="horz" wrap="square" lIns="0" tIns="0" rIns="0" bIns="0" rtlCol="0">
            <a:noAutofit/>
          </a:bodyPr>
          <a:lstStyle>
            <a:lvl1pPr>
              <a:defRPr lang="en-US" sz="1800" b="0" dirty="0"/>
            </a:lvl1pPr>
          </a:lstStyle>
          <a:p>
            <a:pPr lvl="0">
              <a:buNone/>
            </a:pPr>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tx2"/>
                </a:solidFill>
                <a:cs typeface="Arial" panose="020B0604020202020204" pitchFamily="34" charset="0"/>
              </a:rPr>
              <a:pPr lvl="0" algn="ctr" defTabSz="610744" fontAlgn="auto">
                <a:spcBef>
                  <a:spcPts val="0"/>
                </a:spcBef>
                <a:spcAft>
                  <a:spcPts val="0"/>
                </a:spcAft>
              </a:pPr>
              <a:t>‹#›</a:t>
            </a:fld>
            <a:endParaRPr lang="en-US" sz="900" b="0" dirty="0">
              <a:solidFill>
                <a:schemeClr val="tx2"/>
              </a:solidFill>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017712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2"/>
            </p:custDataLst>
            <p:extLst>
              <p:ext uri="{D42A27DB-BD31-4B8C-83A1-F6EECF244321}">
                <p14:modId xmlns:p14="http://schemas.microsoft.com/office/powerpoint/2010/main" val="817817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2463"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27FBC14-72DC-4109-B1FE-500CF7DD3601}"/>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0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Rectangle 1">
            <a:extLst>
              <a:ext uri="{FF2B5EF4-FFF2-40B4-BE49-F238E27FC236}">
                <a16:creationId xmlns:a16="http://schemas.microsoft.com/office/drawing/2014/main" id="{6C50E687-96DD-427B-A638-1BD666ADFFF2}"/>
              </a:ext>
            </a:extLst>
          </p:cNvPr>
          <p:cNvSpPr/>
          <p:nvPr userDrawn="1"/>
        </p:nvSpPr>
        <p:spPr bwMode="lt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pic>
        <p:nvPicPr>
          <p:cNvPr id="18" name="Picture 19" descr="Gavi-logo - The Rockefeller Foundation">
            <a:extLst>
              <a:ext uri="{FF2B5EF4-FFF2-40B4-BE49-F238E27FC236}">
                <a16:creationId xmlns:a16="http://schemas.microsoft.com/office/drawing/2014/main" id="{E161BC66-4FBB-458B-B868-9798D23D36B2}"/>
              </a:ext>
            </a:extLst>
          </p:cNvPr>
          <p:cNvPicPr>
            <a:picLocks noChangeAspect="1" noChangeArrowheads="1"/>
          </p:cNvPicPr>
          <p:nvPr userDrawn="1"/>
        </p:nvPicPr>
        <p:blipFill rotWithShape="1">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r="38792"/>
          <a:stretch/>
        </p:blipFill>
        <p:spPr bwMode="ltGray">
          <a:xfrm>
            <a:off x="2594762" y="684581"/>
            <a:ext cx="970763" cy="59475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descr="World Health Organization (WHO) – Logos Download">
            <a:extLst>
              <a:ext uri="{FF2B5EF4-FFF2-40B4-BE49-F238E27FC236}">
                <a16:creationId xmlns:a16="http://schemas.microsoft.com/office/drawing/2014/main" id="{9F64F0FF-409E-4C66-B569-FCCCA039E7C1}"/>
              </a:ext>
            </a:extLst>
          </p:cNvPr>
          <p:cNvPicPr>
            <a:picLocks noChangeAspect="1" noChangeArrowheads="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ltGray">
          <a:xfrm>
            <a:off x="4768936" y="651284"/>
            <a:ext cx="2241464" cy="66134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3" descr="Coalition for Epidemic Preparedness Innovations - Wikiwand">
            <a:extLst>
              <a:ext uri="{FF2B5EF4-FFF2-40B4-BE49-F238E27FC236}">
                <a16:creationId xmlns:a16="http://schemas.microsoft.com/office/drawing/2014/main" id="{125E4CD0-B818-4C36-B201-E0BD262A0333}"/>
              </a:ext>
            </a:extLst>
          </p:cNvPr>
          <p:cNvPicPr>
            <a:picLocks noChangeAspect="1" noChangeArrowheads="1"/>
          </p:cNvPicPr>
          <p:nvPr userDrawn="1"/>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ltGray">
          <a:xfrm>
            <a:off x="525802" y="764281"/>
            <a:ext cx="1480798" cy="435355"/>
          </a:xfrm>
          <a:prstGeom prst="rect">
            <a:avLst/>
          </a:prstGeom>
          <a:noFill/>
          <a:extLst>
            <a:ext uri="{909E8E84-426E-40DD-AFC4-6F175D3DCCD1}">
              <a14:hiddenFill xmlns:a14="http://schemas.microsoft.com/office/drawing/2010/main">
                <a:solidFill>
                  <a:srgbClr val="FFFFFF"/>
                </a:solidFill>
              </a14:hiddenFill>
            </a:ext>
          </a:extLst>
        </p:spPr>
      </p:pic>
      <p:sp>
        <p:nvSpPr>
          <p:cNvPr id="21" name="Right Triangle 20">
            <a:extLst>
              <a:ext uri="{FF2B5EF4-FFF2-40B4-BE49-F238E27FC236}">
                <a16:creationId xmlns:a16="http://schemas.microsoft.com/office/drawing/2014/main" id="{B2DCA1FF-D43A-41E5-9677-A2EC85C3BF0A}"/>
              </a:ext>
            </a:extLst>
          </p:cNvPr>
          <p:cNvSpPr/>
          <p:nvPr userDrawn="1"/>
        </p:nvSpPr>
        <p:spPr bwMode="ltGray">
          <a:xfrm flipH="1" flipV="1">
            <a:off x="7366000" y="0"/>
            <a:ext cx="4826000" cy="4826000"/>
          </a:xfrm>
          <a:prstGeom prst="r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2" name="Right Triangle 21">
            <a:extLst>
              <a:ext uri="{FF2B5EF4-FFF2-40B4-BE49-F238E27FC236}">
                <a16:creationId xmlns:a16="http://schemas.microsoft.com/office/drawing/2014/main" id="{66F3D9F6-C837-44E3-AE84-D24634D3E30C}"/>
              </a:ext>
            </a:extLst>
          </p:cNvPr>
          <p:cNvSpPr/>
          <p:nvPr userDrawn="1"/>
        </p:nvSpPr>
        <p:spPr bwMode="ltGray">
          <a:xfrm flipH="1" flipV="1">
            <a:off x="7532005" y="0"/>
            <a:ext cx="4659995" cy="4659995"/>
          </a:xfrm>
          <a:prstGeom prst="r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Right Triangle 22">
            <a:extLst>
              <a:ext uri="{FF2B5EF4-FFF2-40B4-BE49-F238E27FC236}">
                <a16:creationId xmlns:a16="http://schemas.microsoft.com/office/drawing/2014/main" id="{31729851-AF18-4A18-B782-52D68F09C481}"/>
              </a:ext>
            </a:extLst>
          </p:cNvPr>
          <p:cNvSpPr/>
          <p:nvPr userDrawn="1"/>
        </p:nvSpPr>
        <p:spPr bwMode="ltGray">
          <a:xfrm>
            <a:off x="0" y="5003800"/>
            <a:ext cx="1854200" cy="1854200"/>
          </a:xfrm>
          <a:prstGeom prst="r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4" name="Picture 19" descr="Gavi-logo - The Rockefeller Foundation">
            <a:extLst>
              <a:ext uri="{FF2B5EF4-FFF2-40B4-BE49-F238E27FC236}">
                <a16:creationId xmlns:a16="http://schemas.microsoft.com/office/drawing/2014/main" id="{362DAEEB-FE54-4275-9AE2-F5A862CA4CF5}"/>
              </a:ext>
            </a:extLst>
          </p:cNvPr>
          <p:cNvPicPr>
            <a:picLocks noChangeAspect="1" noChangeArrowheads="1"/>
          </p:cNvPicPr>
          <p:nvPr userDrawn="1"/>
        </p:nvPicPr>
        <p:blipFill rotWithShape="1">
          <a:blip r:embed="rId16" cstate="print">
            <a:extLst>
              <a:ext uri="{28A0092B-C50C-407E-A947-70E740481C1C}">
                <a14:useLocalDpi xmlns:a14="http://schemas.microsoft.com/office/drawing/2010/main" val="0"/>
              </a:ext>
            </a:extLst>
          </a:blip>
          <a:srcRect l="61208"/>
          <a:stretch/>
        </p:blipFill>
        <p:spPr bwMode="ltGray">
          <a:xfrm>
            <a:off x="3565525" y="684581"/>
            <a:ext cx="615250" cy="594755"/>
          </a:xfrm>
          <a:prstGeom prst="rect">
            <a:avLst/>
          </a:prstGeom>
          <a:noFill/>
          <a:extLst>
            <a:ext uri="{909E8E84-426E-40DD-AFC4-6F175D3DCCD1}">
              <a14:hiddenFill xmlns:a14="http://schemas.microsoft.com/office/drawing/2010/main">
                <a:solidFill>
                  <a:srgbClr val="FFFFFF"/>
                </a:solidFill>
              </a14:hiddenFill>
            </a:ext>
          </a:extLst>
        </p:spPr>
      </p:pic>
      <p:sp>
        <p:nvSpPr>
          <p:cNvPr id="28" name="Documenttype">
            <a:extLst>
              <a:ext uri="{FF2B5EF4-FFF2-40B4-BE49-F238E27FC236}">
                <a16:creationId xmlns:a16="http://schemas.microsoft.com/office/drawing/2014/main" id="{A2A42BA1-B23C-4DD6-BE7C-04681C9D11FC}"/>
              </a:ext>
            </a:extLst>
          </p:cNvPr>
          <p:cNvSpPr>
            <a:spLocks noGrp="1"/>
          </p:cNvSpPr>
          <p:nvPr>
            <p:ph type="body" sz="quarter" idx="13" hasCustomPrompt="1"/>
            <p:custDataLst>
              <p:tags r:id="rId4"/>
            </p:custDataLst>
          </p:nvPr>
        </p:nvSpPr>
        <p:spPr>
          <a:xfrm>
            <a:off x="525801" y="4648511"/>
            <a:ext cx="81779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29" name="Subtitle">
            <a:extLst>
              <a:ext uri="{FF2B5EF4-FFF2-40B4-BE49-F238E27FC236}">
                <a16:creationId xmlns:a16="http://schemas.microsoft.com/office/drawing/2014/main" id="{45330571-F6C4-47D5-B225-C19043B311D3}"/>
              </a:ext>
            </a:extLst>
          </p:cNvPr>
          <p:cNvSpPr>
            <a:spLocks noGrp="1"/>
          </p:cNvSpPr>
          <p:nvPr>
            <p:ph type="subTitle" idx="1"/>
            <p:custDataLst>
              <p:tags r:id="rId5"/>
            </p:custDataLst>
          </p:nvPr>
        </p:nvSpPr>
        <p:spPr>
          <a:xfrm>
            <a:off x="525801" y="4150556"/>
            <a:ext cx="81779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dirty="0"/>
              <a:t>Click to edit Master subtitle style</a:t>
            </a:r>
          </a:p>
        </p:txBody>
      </p:sp>
      <p:sp>
        <p:nvSpPr>
          <p:cNvPr id="30" name="Title">
            <a:extLst>
              <a:ext uri="{FF2B5EF4-FFF2-40B4-BE49-F238E27FC236}">
                <a16:creationId xmlns:a16="http://schemas.microsoft.com/office/drawing/2014/main" id="{07BB41B6-AE68-4889-B5C2-4A5DD4D7F39C}"/>
              </a:ext>
            </a:extLst>
          </p:cNvPr>
          <p:cNvSpPr>
            <a:spLocks noGrp="1"/>
          </p:cNvSpPr>
          <p:nvPr>
            <p:ph type="title"/>
            <p:custDataLst>
              <p:tags r:id="rId6"/>
            </p:custDataLst>
          </p:nvPr>
        </p:nvSpPr>
        <p:spPr>
          <a:xfrm>
            <a:off x="525801" y="2113720"/>
            <a:ext cx="8177931"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defRPr>
            </a:lvl1pPr>
          </a:lstStyle>
          <a:p>
            <a:pPr lvl="0"/>
            <a:r>
              <a:rPr lang="en-US" dirty="0"/>
              <a:t>Click to edit Master title style</a:t>
            </a:r>
          </a:p>
        </p:txBody>
      </p:sp>
    </p:spTree>
    <p:extLst>
      <p:ext uri="{BB962C8B-B14F-4D97-AF65-F5344CB8AC3E}">
        <p14:creationId xmlns:p14="http://schemas.microsoft.com/office/powerpoint/2010/main" val="26885933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ntrast Titl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2"/>
            </p:custDataLst>
            <p:extLst>
              <p:ext uri="{D42A27DB-BD31-4B8C-83A1-F6EECF244321}">
                <p14:modId xmlns:p14="http://schemas.microsoft.com/office/powerpoint/2010/main" val="4050014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213"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27FBC14-72DC-4109-B1FE-500CF7DD3601}"/>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000" b="1" i="0" baseline="0" dirty="0" err="1">
              <a:solidFill>
                <a:schemeClr val="bg1"/>
              </a:solidFill>
              <a:latin typeface="Arial" panose="020B0604020202020204" pitchFamily="34" charset="0"/>
              <a:ea typeface="+mj-ea"/>
              <a:cs typeface="+mj-cs"/>
              <a:sym typeface="Arial" panose="020B0604020202020204" pitchFamily="34" charset="0"/>
            </a:endParaRPr>
          </a:p>
        </p:txBody>
      </p:sp>
      <p:grpSp>
        <p:nvGrpSpPr>
          <p:cNvPr id="36" name="Rectangle 1">
            <a:extLst>
              <a:ext uri="{FF2B5EF4-FFF2-40B4-BE49-F238E27FC236}">
                <a16:creationId xmlns:a16="http://schemas.microsoft.com/office/drawing/2014/main" id="{94DF31DE-F1E4-4F2E-97D8-6B4AD916ADA7}"/>
              </a:ext>
            </a:extLst>
          </p:cNvPr>
          <p:cNvGrpSpPr/>
          <p:nvPr userDrawn="1"/>
        </p:nvGrpSpPr>
        <p:grpSpPr bwMode="ltGray">
          <a:xfrm>
            <a:off x="0" y="0"/>
            <a:ext cx="12192000" cy="6858000"/>
            <a:chOff x="0" y="0"/>
            <a:chExt cx="12192000" cy="6858000"/>
          </a:xfrm>
        </p:grpSpPr>
        <p:sp>
          <p:nvSpPr>
            <p:cNvPr id="37" name="Rectangle 1">
              <a:extLst>
                <a:ext uri="{FF2B5EF4-FFF2-40B4-BE49-F238E27FC236}">
                  <a16:creationId xmlns:a16="http://schemas.microsoft.com/office/drawing/2014/main" id="{F2D3B4A2-0A0E-4A6A-A878-1624C4666D5A}"/>
                </a:ext>
              </a:extLst>
            </p:cNvPr>
            <p:cNvSpPr/>
            <p:nvPr/>
          </p:nvSpPr>
          <p:spPr bwMode="ltGray">
            <a:xfrm>
              <a:off x="0" y="0"/>
              <a:ext cx="12192000" cy="6858000"/>
            </a:xfrm>
            <a:prstGeom prst="rect">
              <a:avLst/>
            </a:prstGeom>
            <a:solidFill>
              <a:srgbClr val="4D4D4D"/>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1600" b="0" i="0" u="none" strike="noStrike" kern="0" cap="none" spc="0" normalizeH="0" baseline="0" noProof="0">
                <a:ln>
                  <a:noFill/>
                </a:ln>
                <a:solidFill>
                  <a:srgbClr val="000000"/>
                </a:solidFill>
                <a:effectLst/>
                <a:uLnTx/>
                <a:uFillTx/>
                <a:latin typeface="Arial"/>
                <a:ea typeface="+mn-ea"/>
                <a:cs typeface="+mn-cs"/>
              </a:endParaRPr>
            </a:p>
          </p:txBody>
        </p:sp>
        <p:sp>
          <p:nvSpPr>
            <p:cNvPr id="38" name="Freeform: Shape 37">
              <a:extLst>
                <a:ext uri="{FF2B5EF4-FFF2-40B4-BE49-F238E27FC236}">
                  <a16:creationId xmlns:a16="http://schemas.microsoft.com/office/drawing/2014/main" id="{AB17E30B-DED4-4D4B-8273-25B3E7A1CB98}"/>
                </a:ext>
              </a:extLst>
            </p:cNvPr>
            <p:cNvSpPr/>
            <p:nvPr/>
          </p:nvSpPr>
          <p:spPr bwMode="ltGray">
            <a:xfrm flipH="1">
              <a:off x="328939" y="0"/>
              <a:ext cx="11863054" cy="6858000"/>
            </a:xfrm>
            <a:custGeom>
              <a:avLst/>
              <a:gdLst>
                <a:gd name="connsiteX0" fmla="*/ 2186275 w 11863054"/>
                <a:gd name="connsiteY0" fmla="*/ 4880651 h 6858000"/>
                <a:gd name="connsiteX1" fmla="*/ 2466727 w 11863054"/>
                <a:gd name="connsiteY1" fmla="*/ 5366539 h 6858000"/>
                <a:gd name="connsiteX2" fmla="*/ 2186109 w 11863054"/>
                <a:gd name="connsiteY2" fmla="*/ 5852538 h 6858000"/>
                <a:gd name="connsiteX3" fmla="*/ 1624817 w 11863054"/>
                <a:gd name="connsiteY3" fmla="*/ 5852538 h 6858000"/>
                <a:gd name="connsiteX4" fmla="*/ 1344198 w 11863054"/>
                <a:gd name="connsiteY4" fmla="*/ 5366539 h 6858000"/>
                <a:gd name="connsiteX5" fmla="*/ 1624650 w 11863054"/>
                <a:gd name="connsiteY5" fmla="*/ 4880651 h 6858000"/>
                <a:gd name="connsiteX6" fmla="*/ 2185887 w 11863054"/>
                <a:gd name="connsiteY6" fmla="*/ 3891755 h 6858000"/>
                <a:gd name="connsiteX7" fmla="*/ 2466505 w 11863054"/>
                <a:gd name="connsiteY7" fmla="*/ 4377921 h 6858000"/>
                <a:gd name="connsiteX8" fmla="*/ 2186053 w 11863054"/>
                <a:gd name="connsiteY8" fmla="*/ 4863753 h 6858000"/>
                <a:gd name="connsiteX9" fmla="*/ 1624539 w 11863054"/>
                <a:gd name="connsiteY9" fmla="*/ 4863753 h 6858000"/>
                <a:gd name="connsiteX10" fmla="*/ 1343977 w 11863054"/>
                <a:gd name="connsiteY10" fmla="*/ 4377921 h 6858000"/>
                <a:gd name="connsiteX11" fmla="*/ 1624650 w 11863054"/>
                <a:gd name="connsiteY11" fmla="*/ 3891755 h 6858000"/>
                <a:gd name="connsiteX12" fmla="*/ 3898518 w 11863054"/>
                <a:gd name="connsiteY12" fmla="*/ 3891700 h 6858000"/>
                <a:gd name="connsiteX13" fmla="*/ 4179137 w 11863054"/>
                <a:gd name="connsiteY13" fmla="*/ 4377644 h 6858000"/>
                <a:gd name="connsiteX14" fmla="*/ 3898518 w 11863054"/>
                <a:gd name="connsiteY14" fmla="*/ 4863642 h 6858000"/>
                <a:gd name="connsiteX15" fmla="*/ 3337226 w 11863054"/>
                <a:gd name="connsiteY15" fmla="*/ 4863642 h 6858000"/>
                <a:gd name="connsiteX16" fmla="*/ 3056718 w 11863054"/>
                <a:gd name="connsiteY16" fmla="*/ 4377644 h 6858000"/>
                <a:gd name="connsiteX17" fmla="*/ 3337337 w 11863054"/>
                <a:gd name="connsiteY17" fmla="*/ 3891700 h 6858000"/>
                <a:gd name="connsiteX18" fmla="*/ 4755000 w 11863054"/>
                <a:gd name="connsiteY18" fmla="*/ 3397502 h 6858000"/>
                <a:gd name="connsiteX19" fmla="*/ 5035508 w 11863054"/>
                <a:gd name="connsiteY19" fmla="*/ 3883389 h 6858000"/>
                <a:gd name="connsiteX20" fmla="*/ 4754778 w 11863054"/>
                <a:gd name="connsiteY20" fmla="*/ 4369444 h 6858000"/>
                <a:gd name="connsiteX21" fmla="*/ 4193652 w 11863054"/>
                <a:gd name="connsiteY21" fmla="*/ 4369444 h 6858000"/>
                <a:gd name="connsiteX22" fmla="*/ 3912978 w 11863054"/>
                <a:gd name="connsiteY22" fmla="*/ 3883223 h 6858000"/>
                <a:gd name="connsiteX23" fmla="*/ 4193541 w 11863054"/>
                <a:gd name="connsiteY23" fmla="*/ 3397502 h 6858000"/>
                <a:gd name="connsiteX24" fmla="*/ 3042147 w 11863054"/>
                <a:gd name="connsiteY24" fmla="*/ 3397391 h 6858000"/>
                <a:gd name="connsiteX25" fmla="*/ 3322710 w 11863054"/>
                <a:gd name="connsiteY25" fmla="*/ 3883389 h 6858000"/>
                <a:gd name="connsiteX26" fmla="*/ 3042147 w 11863054"/>
                <a:gd name="connsiteY26" fmla="*/ 4369444 h 6858000"/>
                <a:gd name="connsiteX27" fmla="*/ 2480966 w 11863054"/>
                <a:gd name="connsiteY27" fmla="*/ 4369444 h 6858000"/>
                <a:gd name="connsiteX28" fmla="*/ 2200292 w 11863054"/>
                <a:gd name="connsiteY28" fmla="*/ 3883389 h 6858000"/>
                <a:gd name="connsiteX29" fmla="*/ 2480911 w 11863054"/>
                <a:gd name="connsiteY29" fmla="*/ 3397391 h 6858000"/>
                <a:gd name="connsiteX30" fmla="*/ 3898186 w 11863054"/>
                <a:gd name="connsiteY30" fmla="*/ 2902970 h 6858000"/>
                <a:gd name="connsiteX31" fmla="*/ 4178860 w 11863054"/>
                <a:gd name="connsiteY31" fmla="*/ 3389136 h 6858000"/>
                <a:gd name="connsiteX32" fmla="*/ 3898463 w 11863054"/>
                <a:gd name="connsiteY32" fmla="*/ 3874857 h 6858000"/>
                <a:gd name="connsiteX33" fmla="*/ 3337115 w 11863054"/>
                <a:gd name="connsiteY33" fmla="*/ 3874857 h 6858000"/>
                <a:gd name="connsiteX34" fmla="*/ 3056607 w 11863054"/>
                <a:gd name="connsiteY34" fmla="*/ 3388969 h 6858000"/>
                <a:gd name="connsiteX35" fmla="*/ 3337115 w 11863054"/>
                <a:gd name="connsiteY35" fmla="*/ 2902970 h 6858000"/>
                <a:gd name="connsiteX36" fmla="*/ 5611205 w 11863054"/>
                <a:gd name="connsiteY36" fmla="*/ 2902915 h 6858000"/>
                <a:gd name="connsiteX37" fmla="*/ 5891712 w 11863054"/>
                <a:gd name="connsiteY37" fmla="*/ 3388748 h 6858000"/>
                <a:gd name="connsiteX38" fmla="*/ 5611149 w 11863054"/>
                <a:gd name="connsiteY38" fmla="*/ 3874857 h 6858000"/>
                <a:gd name="connsiteX39" fmla="*/ 5049857 w 11863054"/>
                <a:gd name="connsiteY39" fmla="*/ 3874857 h 6858000"/>
                <a:gd name="connsiteX40" fmla="*/ 4769239 w 11863054"/>
                <a:gd name="connsiteY40" fmla="*/ 3388969 h 6858000"/>
                <a:gd name="connsiteX41" fmla="*/ 5049857 w 11863054"/>
                <a:gd name="connsiteY41" fmla="*/ 2902915 h 6858000"/>
                <a:gd name="connsiteX42" fmla="*/ 1329350 w 11863054"/>
                <a:gd name="connsiteY42" fmla="*/ 2409215 h 6858000"/>
                <a:gd name="connsiteX43" fmla="*/ 1609968 w 11863054"/>
                <a:gd name="connsiteY43" fmla="*/ 2895269 h 6858000"/>
                <a:gd name="connsiteX44" fmla="*/ 1329350 w 11863054"/>
                <a:gd name="connsiteY44" fmla="*/ 3381379 h 6858000"/>
                <a:gd name="connsiteX45" fmla="*/ 768224 w 11863054"/>
                <a:gd name="connsiteY45" fmla="*/ 3381379 h 6858000"/>
                <a:gd name="connsiteX46" fmla="*/ 487716 w 11863054"/>
                <a:gd name="connsiteY46" fmla="*/ 2895546 h 6858000"/>
                <a:gd name="connsiteX47" fmla="*/ 768501 w 11863054"/>
                <a:gd name="connsiteY47" fmla="*/ 2409215 h 6858000"/>
                <a:gd name="connsiteX48" fmla="*/ 3041981 w 11863054"/>
                <a:gd name="connsiteY48" fmla="*/ 2408883 h 6858000"/>
                <a:gd name="connsiteX49" fmla="*/ 3322599 w 11863054"/>
                <a:gd name="connsiteY49" fmla="*/ 2894826 h 6858000"/>
                <a:gd name="connsiteX50" fmla="*/ 3042092 w 11863054"/>
                <a:gd name="connsiteY50" fmla="*/ 3380714 h 6858000"/>
                <a:gd name="connsiteX51" fmla="*/ 2480855 w 11863054"/>
                <a:gd name="connsiteY51" fmla="*/ 3380714 h 6858000"/>
                <a:gd name="connsiteX52" fmla="*/ 2200126 w 11863054"/>
                <a:gd name="connsiteY52" fmla="*/ 2894715 h 6858000"/>
                <a:gd name="connsiteX53" fmla="*/ 2480689 w 11863054"/>
                <a:gd name="connsiteY53" fmla="*/ 2408883 h 6858000"/>
                <a:gd name="connsiteX54" fmla="*/ 4754612 w 11863054"/>
                <a:gd name="connsiteY54" fmla="*/ 2408827 h 6858000"/>
                <a:gd name="connsiteX55" fmla="*/ 5035231 w 11863054"/>
                <a:gd name="connsiteY55" fmla="*/ 2894715 h 6858000"/>
                <a:gd name="connsiteX56" fmla="*/ 4754612 w 11863054"/>
                <a:gd name="connsiteY56" fmla="*/ 3380714 h 6858000"/>
                <a:gd name="connsiteX57" fmla="*/ 4193375 w 11863054"/>
                <a:gd name="connsiteY57" fmla="*/ 3380714 h 6858000"/>
                <a:gd name="connsiteX58" fmla="*/ 3912757 w 11863054"/>
                <a:gd name="connsiteY58" fmla="*/ 2894715 h 6858000"/>
                <a:gd name="connsiteX59" fmla="*/ 4193320 w 11863054"/>
                <a:gd name="connsiteY59" fmla="*/ 2408827 h 6858000"/>
                <a:gd name="connsiteX60" fmla="*/ 6467576 w 11863054"/>
                <a:gd name="connsiteY60" fmla="*/ 2408384 h 6858000"/>
                <a:gd name="connsiteX61" fmla="*/ 6748083 w 11863054"/>
                <a:gd name="connsiteY61" fmla="*/ 2894217 h 6858000"/>
                <a:gd name="connsiteX62" fmla="*/ 6467409 w 11863054"/>
                <a:gd name="connsiteY62" fmla="*/ 3380326 h 6858000"/>
                <a:gd name="connsiteX63" fmla="*/ 5906173 w 11863054"/>
                <a:gd name="connsiteY63" fmla="*/ 3380326 h 6858000"/>
                <a:gd name="connsiteX64" fmla="*/ 5625554 w 11863054"/>
                <a:gd name="connsiteY64" fmla="*/ 2894272 h 6858000"/>
                <a:gd name="connsiteX65" fmla="*/ 5906006 w 11863054"/>
                <a:gd name="connsiteY65" fmla="*/ 2408384 h 6858000"/>
                <a:gd name="connsiteX66" fmla="*/ 2185610 w 11863054"/>
                <a:gd name="connsiteY66" fmla="*/ 1914628 h 6858000"/>
                <a:gd name="connsiteX67" fmla="*/ 2466229 w 11863054"/>
                <a:gd name="connsiteY67" fmla="*/ 2400572 h 6858000"/>
                <a:gd name="connsiteX68" fmla="*/ 2423402 w 11863054"/>
                <a:gd name="connsiteY68" fmla="*/ 2474702 h 6858000"/>
                <a:gd name="connsiteX69" fmla="*/ 2185555 w 11863054"/>
                <a:gd name="connsiteY69" fmla="*/ 2886737 h 6858000"/>
                <a:gd name="connsiteX70" fmla="*/ 1624318 w 11863054"/>
                <a:gd name="connsiteY70" fmla="*/ 2886737 h 6858000"/>
                <a:gd name="connsiteX71" fmla="*/ 1344087 w 11863054"/>
                <a:gd name="connsiteY71" fmla="*/ 2401292 h 6858000"/>
                <a:gd name="connsiteX72" fmla="*/ 1625093 w 11863054"/>
                <a:gd name="connsiteY72" fmla="*/ 1914628 h 6858000"/>
                <a:gd name="connsiteX73" fmla="*/ 3898186 w 11863054"/>
                <a:gd name="connsiteY73" fmla="*/ 1914462 h 6858000"/>
                <a:gd name="connsiteX74" fmla="*/ 4178804 w 11863054"/>
                <a:gd name="connsiteY74" fmla="*/ 2400461 h 6858000"/>
                <a:gd name="connsiteX75" fmla="*/ 3898241 w 11863054"/>
                <a:gd name="connsiteY75" fmla="*/ 2886349 h 6858000"/>
                <a:gd name="connsiteX76" fmla="*/ 3337115 w 11863054"/>
                <a:gd name="connsiteY76" fmla="*/ 2886349 h 6858000"/>
                <a:gd name="connsiteX77" fmla="*/ 3056441 w 11863054"/>
                <a:gd name="connsiteY77" fmla="*/ 2400295 h 6858000"/>
                <a:gd name="connsiteX78" fmla="*/ 3336949 w 11863054"/>
                <a:gd name="connsiteY78" fmla="*/ 1914462 h 6858000"/>
                <a:gd name="connsiteX79" fmla="*/ 5610872 w 11863054"/>
                <a:gd name="connsiteY79" fmla="*/ 1914185 h 6858000"/>
                <a:gd name="connsiteX80" fmla="*/ 5891491 w 11863054"/>
                <a:gd name="connsiteY80" fmla="*/ 2400240 h 6858000"/>
                <a:gd name="connsiteX81" fmla="*/ 5610983 w 11863054"/>
                <a:gd name="connsiteY81" fmla="*/ 2886072 h 6858000"/>
                <a:gd name="connsiteX82" fmla="*/ 5049469 w 11863054"/>
                <a:gd name="connsiteY82" fmla="*/ 2886072 h 6858000"/>
                <a:gd name="connsiteX83" fmla="*/ 4768962 w 11863054"/>
                <a:gd name="connsiteY83" fmla="*/ 2400295 h 6858000"/>
                <a:gd name="connsiteX84" fmla="*/ 5049635 w 11863054"/>
                <a:gd name="connsiteY84" fmla="*/ 1914185 h 6858000"/>
                <a:gd name="connsiteX85" fmla="*/ 7323669 w 11863054"/>
                <a:gd name="connsiteY85" fmla="*/ 1913853 h 6858000"/>
                <a:gd name="connsiteX86" fmla="*/ 7604232 w 11863054"/>
                <a:gd name="connsiteY86" fmla="*/ 2399852 h 6858000"/>
                <a:gd name="connsiteX87" fmla="*/ 7323669 w 11863054"/>
                <a:gd name="connsiteY87" fmla="*/ 2885740 h 6858000"/>
                <a:gd name="connsiteX88" fmla="*/ 6762377 w 11863054"/>
                <a:gd name="connsiteY88" fmla="*/ 2885740 h 6858000"/>
                <a:gd name="connsiteX89" fmla="*/ 6481870 w 11863054"/>
                <a:gd name="connsiteY89" fmla="*/ 2399741 h 6858000"/>
                <a:gd name="connsiteX90" fmla="*/ 6762322 w 11863054"/>
                <a:gd name="connsiteY90" fmla="*/ 1913853 h 6858000"/>
                <a:gd name="connsiteX91" fmla="*/ 1330015 w 11863054"/>
                <a:gd name="connsiteY91" fmla="*/ 1420652 h 6858000"/>
                <a:gd name="connsiteX92" fmla="*/ 1610135 w 11863054"/>
                <a:gd name="connsiteY92" fmla="*/ 1905930 h 6858000"/>
                <a:gd name="connsiteX93" fmla="*/ 1329073 w 11863054"/>
                <a:gd name="connsiteY93" fmla="*/ 2392594 h 6858000"/>
                <a:gd name="connsiteX94" fmla="*/ 768723 w 11863054"/>
                <a:gd name="connsiteY94" fmla="*/ 2392594 h 6858000"/>
                <a:gd name="connsiteX95" fmla="*/ 487993 w 11863054"/>
                <a:gd name="connsiteY95" fmla="*/ 1906429 h 6858000"/>
                <a:gd name="connsiteX96" fmla="*/ 768446 w 11863054"/>
                <a:gd name="connsiteY96" fmla="*/ 1420652 h 6858000"/>
                <a:gd name="connsiteX97" fmla="*/ 4754612 w 11863054"/>
                <a:gd name="connsiteY97" fmla="*/ 1420208 h 6858000"/>
                <a:gd name="connsiteX98" fmla="*/ 5035175 w 11863054"/>
                <a:gd name="connsiteY98" fmla="*/ 1906096 h 6858000"/>
                <a:gd name="connsiteX99" fmla="*/ 4754391 w 11863054"/>
                <a:gd name="connsiteY99" fmla="*/ 2392151 h 6858000"/>
                <a:gd name="connsiteX100" fmla="*/ 4193375 w 11863054"/>
                <a:gd name="connsiteY100" fmla="*/ 2392151 h 6858000"/>
                <a:gd name="connsiteX101" fmla="*/ 3912646 w 11863054"/>
                <a:gd name="connsiteY101" fmla="*/ 1905986 h 6858000"/>
                <a:gd name="connsiteX102" fmla="*/ 4193098 w 11863054"/>
                <a:gd name="connsiteY102" fmla="*/ 1420208 h 6858000"/>
                <a:gd name="connsiteX103" fmla="*/ 3041704 w 11863054"/>
                <a:gd name="connsiteY103" fmla="*/ 1420097 h 6858000"/>
                <a:gd name="connsiteX104" fmla="*/ 3322322 w 11863054"/>
                <a:gd name="connsiteY104" fmla="*/ 1906207 h 6858000"/>
                <a:gd name="connsiteX105" fmla="*/ 3041925 w 11863054"/>
                <a:gd name="connsiteY105" fmla="*/ 2391985 h 6858000"/>
                <a:gd name="connsiteX106" fmla="*/ 2480523 w 11863054"/>
                <a:gd name="connsiteY106" fmla="*/ 2391985 h 6858000"/>
                <a:gd name="connsiteX107" fmla="*/ 2200347 w 11863054"/>
                <a:gd name="connsiteY107" fmla="*/ 1906706 h 6858000"/>
                <a:gd name="connsiteX108" fmla="*/ 2481187 w 11863054"/>
                <a:gd name="connsiteY108" fmla="*/ 1420097 h 6858000"/>
                <a:gd name="connsiteX109" fmla="*/ 6467243 w 11863054"/>
                <a:gd name="connsiteY109" fmla="*/ 1419654 h 6858000"/>
                <a:gd name="connsiteX110" fmla="*/ 6747862 w 11863054"/>
                <a:gd name="connsiteY110" fmla="*/ 1905597 h 6858000"/>
                <a:gd name="connsiteX111" fmla="*/ 6467409 w 11863054"/>
                <a:gd name="connsiteY111" fmla="*/ 2391486 h 6858000"/>
                <a:gd name="connsiteX112" fmla="*/ 5905785 w 11863054"/>
                <a:gd name="connsiteY112" fmla="*/ 2391486 h 6858000"/>
                <a:gd name="connsiteX113" fmla="*/ 5625333 w 11863054"/>
                <a:gd name="connsiteY113" fmla="*/ 1905708 h 6858000"/>
                <a:gd name="connsiteX114" fmla="*/ 5735696 w 11863054"/>
                <a:gd name="connsiteY114" fmla="*/ 1714456 h 6858000"/>
                <a:gd name="connsiteX115" fmla="*/ 5905950 w 11863054"/>
                <a:gd name="connsiteY115" fmla="*/ 1419654 h 6858000"/>
                <a:gd name="connsiteX116" fmla="*/ 8180151 w 11863054"/>
                <a:gd name="connsiteY116" fmla="*/ 1419654 h 6858000"/>
                <a:gd name="connsiteX117" fmla="*/ 8460603 w 11863054"/>
                <a:gd name="connsiteY117" fmla="*/ 1905487 h 6858000"/>
                <a:gd name="connsiteX118" fmla="*/ 8179984 w 11863054"/>
                <a:gd name="connsiteY118" fmla="*/ 2391652 h 6858000"/>
                <a:gd name="connsiteX119" fmla="*/ 7618914 w 11863054"/>
                <a:gd name="connsiteY119" fmla="*/ 2391652 h 6858000"/>
                <a:gd name="connsiteX120" fmla="*/ 7338130 w 11863054"/>
                <a:gd name="connsiteY120" fmla="*/ 1905432 h 6858000"/>
                <a:gd name="connsiteX121" fmla="*/ 7618582 w 11863054"/>
                <a:gd name="connsiteY121" fmla="*/ 1419654 h 6858000"/>
                <a:gd name="connsiteX122" fmla="*/ 2186164 w 11863054"/>
                <a:gd name="connsiteY122" fmla="*/ 926120 h 6858000"/>
                <a:gd name="connsiteX123" fmla="*/ 2466395 w 11863054"/>
                <a:gd name="connsiteY123" fmla="*/ 1411344 h 6858000"/>
                <a:gd name="connsiteX124" fmla="*/ 2185555 w 11863054"/>
                <a:gd name="connsiteY124" fmla="*/ 1897952 h 6858000"/>
                <a:gd name="connsiteX125" fmla="*/ 1624817 w 11863054"/>
                <a:gd name="connsiteY125" fmla="*/ 1897952 h 6858000"/>
                <a:gd name="connsiteX126" fmla="*/ 1344253 w 11863054"/>
                <a:gd name="connsiteY126" fmla="*/ 1412064 h 6858000"/>
                <a:gd name="connsiteX127" fmla="*/ 1624817 w 11863054"/>
                <a:gd name="connsiteY127" fmla="*/ 926120 h 6858000"/>
                <a:gd name="connsiteX128" fmla="*/ 3897853 w 11863054"/>
                <a:gd name="connsiteY128" fmla="*/ 925677 h 6858000"/>
                <a:gd name="connsiteX129" fmla="*/ 4178583 w 11863054"/>
                <a:gd name="connsiteY129" fmla="*/ 1411842 h 6858000"/>
                <a:gd name="connsiteX130" fmla="*/ 3898186 w 11863054"/>
                <a:gd name="connsiteY130" fmla="*/ 1897620 h 6858000"/>
                <a:gd name="connsiteX131" fmla="*/ 3336838 w 11863054"/>
                <a:gd name="connsiteY131" fmla="*/ 1897620 h 6858000"/>
                <a:gd name="connsiteX132" fmla="*/ 3056607 w 11863054"/>
                <a:gd name="connsiteY132" fmla="*/ 1412174 h 6858000"/>
                <a:gd name="connsiteX133" fmla="*/ 3337503 w 11863054"/>
                <a:gd name="connsiteY133" fmla="*/ 925677 h 6858000"/>
                <a:gd name="connsiteX134" fmla="*/ 5610872 w 11863054"/>
                <a:gd name="connsiteY134" fmla="*/ 925622 h 6858000"/>
                <a:gd name="connsiteX135" fmla="*/ 5891380 w 11863054"/>
                <a:gd name="connsiteY135" fmla="*/ 1411455 h 6858000"/>
                <a:gd name="connsiteX136" fmla="*/ 5710376 w 11863054"/>
                <a:gd name="connsiteY136" fmla="*/ 1725093 h 6858000"/>
                <a:gd name="connsiteX137" fmla="*/ 5610761 w 11863054"/>
                <a:gd name="connsiteY137" fmla="*/ 1897453 h 6858000"/>
                <a:gd name="connsiteX138" fmla="*/ 5049414 w 11863054"/>
                <a:gd name="connsiteY138" fmla="*/ 1897453 h 6858000"/>
                <a:gd name="connsiteX139" fmla="*/ 4768851 w 11863054"/>
                <a:gd name="connsiteY139" fmla="*/ 1411565 h 6858000"/>
                <a:gd name="connsiteX140" fmla="*/ 5049469 w 11863054"/>
                <a:gd name="connsiteY140" fmla="*/ 925622 h 6858000"/>
                <a:gd name="connsiteX141" fmla="*/ 7323392 w 11863054"/>
                <a:gd name="connsiteY141" fmla="*/ 925123 h 6858000"/>
                <a:gd name="connsiteX142" fmla="*/ 7604121 w 11863054"/>
                <a:gd name="connsiteY142" fmla="*/ 1411344 h 6858000"/>
                <a:gd name="connsiteX143" fmla="*/ 7323558 w 11863054"/>
                <a:gd name="connsiteY143" fmla="*/ 1896955 h 6858000"/>
                <a:gd name="connsiteX144" fmla="*/ 6762100 w 11863054"/>
                <a:gd name="connsiteY144" fmla="*/ 1896955 h 6858000"/>
                <a:gd name="connsiteX145" fmla="*/ 6481537 w 11863054"/>
                <a:gd name="connsiteY145" fmla="*/ 1411178 h 6858000"/>
                <a:gd name="connsiteX146" fmla="*/ 6591069 w 11863054"/>
                <a:gd name="connsiteY146" fmla="*/ 1221532 h 6858000"/>
                <a:gd name="connsiteX147" fmla="*/ 6762266 w 11863054"/>
                <a:gd name="connsiteY147" fmla="*/ 925123 h 6858000"/>
                <a:gd name="connsiteX148" fmla="*/ 9036411 w 11863054"/>
                <a:gd name="connsiteY148" fmla="*/ 925068 h 6858000"/>
                <a:gd name="connsiteX149" fmla="*/ 9316919 w 11863054"/>
                <a:gd name="connsiteY149" fmla="*/ 1410955 h 6858000"/>
                <a:gd name="connsiteX150" fmla="*/ 9036245 w 11863054"/>
                <a:gd name="connsiteY150" fmla="*/ 1896955 h 6858000"/>
                <a:gd name="connsiteX151" fmla="*/ 8475008 w 11863054"/>
                <a:gd name="connsiteY151" fmla="*/ 1896955 h 6858000"/>
                <a:gd name="connsiteX152" fmla="*/ 8194389 w 11863054"/>
                <a:gd name="connsiteY152" fmla="*/ 1411066 h 6858000"/>
                <a:gd name="connsiteX153" fmla="*/ 8475008 w 11863054"/>
                <a:gd name="connsiteY153" fmla="*/ 925068 h 6858000"/>
                <a:gd name="connsiteX154" fmla="*/ 1329738 w 11863054"/>
                <a:gd name="connsiteY154" fmla="*/ 432032 h 6858000"/>
                <a:gd name="connsiteX155" fmla="*/ 1610245 w 11863054"/>
                <a:gd name="connsiteY155" fmla="*/ 917810 h 6858000"/>
                <a:gd name="connsiteX156" fmla="*/ 1329627 w 11863054"/>
                <a:gd name="connsiteY156" fmla="*/ 1403864 h 6858000"/>
                <a:gd name="connsiteX157" fmla="*/ 768446 w 11863054"/>
                <a:gd name="connsiteY157" fmla="*/ 1403864 h 6858000"/>
                <a:gd name="connsiteX158" fmla="*/ 487827 w 11863054"/>
                <a:gd name="connsiteY158" fmla="*/ 917810 h 6858000"/>
                <a:gd name="connsiteX159" fmla="*/ 768335 w 11863054"/>
                <a:gd name="connsiteY159" fmla="*/ 432032 h 6858000"/>
                <a:gd name="connsiteX160" fmla="*/ 3042369 w 11863054"/>
                <a:gd name="connsiteY160" fmla="*/ 431534 h 6858000"/>
                <a:gd name="connsiteX161" fmla="*/ 3322599 w 11863054"/>
                <a:gd name="connsiteY161" fmla="*/ 916979 h 6858000"/>
                <a:gd name="connsiteX162" fmla="*/ 3041704 w 11863054"/>
                <a:gd name="connsiteY162" fmla="*/ 1403366 h 6858000"/>
                <a:gd name="connsiteX163" fmla="*/ 2481187 w 11863054"/>
                <a:gd name="connsiteY163" fmla="*/ 1403366 h 6858000"/>
                <a:gd name="connsiteX164" fmla="*/ 2200569 w 11863054"/>
                <a:gd name="connsiteY164" fmla="*/ 917422 h 6858000"/>
                <a:gd name="connsiteX165" fmla="*/ 2481021 w 11863054"/>
                <a:gd name="connsiteY165" fmla="*/ 431534 h 6858000"/>
                <a:gd name="connsiteX166" fmla="*/ 4754335 w 11863054"/>
                <a:gd name="connsiteY166" fmla="*/ 431534 h 6858000"/>
                <a:gd name="connsiteX167" fmla="*/ 5034898 w 11863054"/>
                <a:gd name="connsiteY167" fmla="*/ 917477 h 6858000"/>
                <a:gd name="connsiteX168" fmla="*/ 4754169 w 11863054"/>
                <a:gd name="connsiteY168" fmla="*/ 1403366 h 6858000"/>
                <a:gd name="connsiteX169" fmla="*/ 4193043 w 11863054"/>
                <a:gd name="connsiteY169" fmla="*/ 1403366 h 6858000"/>
                <a:gd name="connsiteX170" fmla="*/ 3912701 w 11863054"/>
                <a:gd name="connsiteY170" fmla="*/ 917810 h 6858000"/>
                <a:gd name="connsiteX171" fmla="*/ 4193541 w 11863054"/>
                <a:gd name="connsiteY171" fmla="*/ 431534 h 6858000"/>
                <a:gd name="connsiteX172" fmla="*/ 6467243 w 11863054"/>
                <a:gd name="connsiteY172" fmla="*/ 431090 h 6858000"/>
                <a:gd name="connsiteX173" fmla="*/ 6747695 w 11863054"/>
                <a:gd name="connsiteY173" fmla="*/ 916979 h 6858000"/>
                <a:gd name="connsiteX174" fmla="*/ 6693400 w 11863054"/>
                <a:gd name="connsiteY174" fmla="*/ 1011054 h 6858000"/>
                <a:gd name="connsiteX175" fmla="*/ 6467077 w 11863054"/>
                <a:gd name="connsiteY175" fmla="*/ 1403033 h 6858000"/>
                <a:gd name="connsiteX176" fmla="*/ 5905729 w 11863054"/>
                <a:gd name="connsiteY176" fmla="*/ 1403033 h 6858000"/>
                <a:gd name="connsiteX177" fmla="*/ 5625166 w 11863054"/>
                <a:gd name="connsiteY177" fmla="*/ 916979 h 6858000"/>
                <a:gd name="connsiteX178" fmla="*/ 5905674 w 11863054"/>
                <a:gd name="connsiteY178" fmla="*/ 431090 h 6858000"/>
                <a:gd name="connsiteX179" fmla="*/ 8179874 w 11863054"/>
                <a:gd name="connsiteY179" fmla="*/ 431035 h 6858000"/>
                <a:gd name="connsiteX180" fmla="*/ 8460326 w 11863054"/>
                <a:gd name="connsiteY180" fmla="*/ 916812 h 6858000"/>
                <a:gd name="connsiteX181" fmla="*/ 8179818 w 11863054"/>
                <a:gd name="connsiteY181" fmla="*/ 1402867 h 6858000"/>
                <a:gd name="connsiteX182" fmla="*/ 7618582 w 11863054"/>
                <a:gd name="connsiteY182" fmla="*/ 1402867 h 6858000"/>
                <a:gd name="connsiteX183" fmla="*/ 7337963 w 11863054"/>
                <a:gd name="connsiteY183" fmla="*/ 916812 h 6858000"/>
                <a:gd name="connsiteX184" fmla="*/ 7618471 w 11863054"/>
                <a:gd name="connsiteY184" fmla="*/ 431035 h 6858000"/>
                <a:gd name="connsiteX185" fmla="*/ 9892505 w 11863054"/>
                <a:gd name="connsiteY185" fmla="*/ 430592 h 6858000"/>
                <a:gd name="connsiteX186" fmla="*/ 10173123 w 11863054"/>
                <a:gd name="connsiteY186" fmla="*/ 916536 h 6858000"/>
                <a:gd name="connsiteX187" fmla="*/ 9892560 w 11863054"/>
                <a:gd name="connsiteY187" fmla="*/ 1402534 h 6858000"/>
                <a:gd name="connsiteX188" fmla="*/ 9331323 w 11863054"/>
                <a:gd name="connsiteY188" fmla="*/ 1402534 h 6858000"/>
                <a:gd name="connsiteX189" fmla="*/ 9050650 w 11863054"/>
                <a:gd name="connsiteY189" fmla="*/ 916424 h 6858000"/>
                <a:gd name="connsiteX190" fmla="*/ 9331157 w 11863054"/>
                <a:gd name="connsiteY190" fmla="*/ 430592 h 6858000"/>
                <a:gd name="connsiteX191" fmla="*/ 11863054 w 11863054"/>
                <a:gd name="connsiteY191" fmla="*/ 0 h 6858000"/>
                <a:gd name="connsiteX192" fmla="*/ 11843939 w 11863054"/>
                <a:gd name="connsiteY192" fmla="*/ 0 h 6858000"/>
                <a:gd name="connsiteX193" fmla="*/ 11604970 w 11863054"/>
                <a:gd name="connsiteY193" fmla="*/ 413916 h 6858000"/>
                <a:gd name="connsiteX194" fmla="*/ 11043788 w 11863054"/>
                <a:gd name="connsiteY194" fmla="*/ 413916 h 6858000"/>
                <a:gd name="connsiteX195" fmla="*/ 10804853 w 11863054"/>
                <a:gd name="connsiteY195" fmla="*/ 0 h 6858000"/>
                <a:gd name="connsiteX196" fmla="*/ 10785529 w 11863054"/>
                <a:gd name="connsiteY196" fmla="*/ 0 h 6858000"/>
                <a:gd name="connsiteX197" fmla="*/ 11029217 w 11863054"/>
                <a:gd name="connsiteY197" fmla="*/ 422170 h 6858000"/>
                <a:gd name="connsiteX198" fmla="*/ 10748654 w 11863054"/>
                <a:gd name="connsiteY198" fmla="*/ 908114 h 6858000"/>
                <a:gd name="connsiteX199" fmla="*/ 10187639 w 11863054"/>
                <a:gd name="connsiteY199" fmla="*/ 908114 h 6858000"/>
                <a:gd name="connsiteX200" fmla="*/ 9906965 w 11863054"/>
                <a:gd name="connsiteY200" fmla="*/ 421949 h 6858000"/>
                <a:gd name="connsiteX201" fmla="*/ 10150539 w 11863054"/>
                <a:gd name="connsiteY201" fmla="*/ 0 h 6858000"/>
                <a:gd name="connsiteX202" fmla="*/ 10131190 w 11863054"/>
                <a:gd name="connsiteY202" fmla="*/ 0 h 6858000"/>
                <a:gd name="connsiteX203" fmla="*/ 9892339 w 11863054"/>
                <a:gd name="connsiteY203" fmla="*/ 413638 h 6858000"/>
                <a:gd name="connsiteX204" fmla="*/ 9330991 w 11863054"/>
                <a:gd name="connsiteY204" fmla="*/ 413638 h 6858000"/>
                <a:gd name="connsiteX205" fmla="*/ 9092139 w 11863054"/>
                <a:gd name="connsiteY205" fmla="*/ 0 h 6858000"/>
                <a:gd name="connsiteX206" fmla="*/ 9072826 w 11863054"/>
                <a:gd name="connsiteY206" fmla="*/ 0 h 6858000"/>
                <a:gd name="connsiteX207" fmla="*/ 9316642 w 11863054"/>
                <a:gd name="connsiteY207" fmla="*/ 422392 h 6858000"/>
                <a:gd name="connsiteX208" fmla="*/ 9036189 w 11863054"/>
                <a:gd name="connsiteY208" fmla="*/ 908170 h 6858000"/>
                <a:gd name="connsiteX209" fmla="*/ 8474731 w 11863054"/>
                <a:gd name="connsiteY209" fmla="*/ 908170 h 6858000"/>
                <a:gd name="connsiteX210" fmla="*/ 8194168 w 11863054"/>
                <a:gd name="connsiteY210" fmla="*/ 422503 h 6858000"/>
                <a:gd name="connsiteX211" fmla="*/ 8438136 w 11863054"/>
                <a:gd name="connsiteY211" fmla="*/ 0 h 6858000"/>
                <a:gd name="connsiteX212" fmla="*/ 8418811 w 11863054"/>
                <a:gd name="connsiteY212" fmla="*/ 0 h 6858000"/>
                <a:gd name="connsiteX213" fmla="*/ 8179597 w 11863054"/>
                <a:gd name="connsiteY213" fmla="*/ 414303 h 6858000"/>
                <a:gd name="connsiteX214" fmla="*/ 7618582 w 11863054"/>
                <a:gd name="connsiteY214" fmla="*/ 414303 h 6858000"/>
                <a:gd name="connsiteX215" fmla="*/ 7379274 w 11863054"/>
                <a:gd name="connsiteY215" fmla="*/ 0 h 6858000"/>
                <a:gd name="connsiteX216" fmla="*/ 7359940 w 11863054"/>
                <a:gd name="connsiteY216" fmla="*/ 0 h 6858000"/>
                <a:gd name="connsiteX217" fmla="*/ 7603955 w 11863054"/>
                <a:gd name="connsiteY217" fmla="*/ 422558 h 6858000"/>
                <a:gd name="connsiteX218" fmla="*/ 7323337 w 11863054"/>
                <a:gd name="connsiteY218" fmla="*/ 908447 h 6858000"/>
                <a:gd name="connsiteX219" fmla="*/ 6762100 w 11863054"/>
                <a:gd name="connsiteY219" fmla="*/ 908447 h 6858000"/>
                <a:gd name="connsiteX220" fmla="*/ 6481482 w 11863054"/>
                <a:gd name="connsiteY220" fmla="*/ 422503 h 6858000"/>
                <a:gd name="connsiteX221" fmla="*/ 6725445 w 11863054"/>
                <a:gd name="connsiteY221" fmla="*/ 0 h 6858000"/>
                <a:gd name="connsiteX222" fmla="*/ 6706132 w 11863054"/>
                <a:gd name="connsiteY222" fmla="*/ 0 h 6858000"/>
                <a:gd name="connsiteX223" fmla="*/ 6466910 w 11863054"/>
                <a:gd name="connsiteY223" fmla="*/ 414303 h 6858000"/>
                <a:gd name="connsiteX224" fmla="*/ 5905508 w 11863054"/>
                <a:gd name="connsiteY224" fmla="*/ 414303 h 6858000"/>
                <a:gd name="connsiteX225" fmla="*/ 5666338 w 11863054"/>
                <a:gd name="connsiteY225" fmla="*/ 0 h 6858000"/>
                <a:gd name="connsiteX226" fmla="*/ 5646974 w 11863054"/>
                <a:gd name="connsiteY226" fmla="*/ 0 h 6858000"/>
                <a:gd name="connsiteX227" fmla="*/ 5891214 w 11863054"/>
                <a:gd name="connsiteY227" fmla="*/ 422946 h 6858000"/>
                <a:gd name="connsiteX228" fmla="*/ 5618463 w 11863054"/>
                <a:gd name="connsiteY228" fmla="*/ 895261 h 6858000"/>
                <a:gd name="connsiteX229" fmla="*/ 5610706 w 11863054"/>
                <a:gd name="connsiteY229" fmla="*/ 908835 h 6858000"/>
                <a:gd name="connsiteX230" fmla="*/ 5049192 w 11863054"/>
                <a:gd name="connsiteY230" fmla="*/ 908835 h 6858000"/>
                <a:gd name="connsiteX231" fmla="*/ 4769017 w 11863054"/>
                <a:gd name="connsiteY231" fmla="*/ 423556 h 6858000"/>
                <a:gd name="connsiteX232" fmla="*/ 5013591 w 11863054"/>
                <a:gd name="connsiteY232" fmla="*/ 0 h 6858000"/>
                <a:gd name="connsiteX233" fmla="*/ 4993649 w 11863054"/>
                <a:gd name="connsiteY233" fmla="*/ 0 h 6858000"/>
                <a:gd name="connsiteX234" fmla="*/ 4754058 w 11863054"/>
                <a:gd name="connsiteY234" fmla="*/ 414857 h 6858000"/>
                <a:gd name="connsiteX235" fmla="*/ 4193652 w 11863054"/>
                <a:gd name="connsiteY235" fmla="*/ 414857 h 6858000"/>
                <a:gd name="connsiteX236" fmla="*/ 3954146 w 11863054"/>
                <a:gd name="connsiteY236" fmla="*/ 0 h 6858000"/>
                <a:gd name="connsiteX237" fmla="*/ 3934827 w 11863054"/>
                <a:gd name="connsiteY237" fmla="*/ 0 h 6858000"/>
                <a:gd name="connsiteX238" fmla="*/ 4178860 w 11863054"/>
                <a:gd name="connsiteY238" fmla="*/ 422669 h 6858000"/>
                <a:gd name="connsiteX239" fmla="*/ 3898186 w 11863054"/>
                <a:gd name="connsiteY239" fmla="*/ 909056 h 6858000"/>
                <a:gd name="connsiteX240" fmla="*/ 3337503 w 11863054"/>
                <a:gd name="connsiteY240" fmla="*/ 909056 h 6858000"/>
                <a:gd name="connsiteX241" fmla="*/ 3056829 w 11863054"/>
                <a:gd name="connsiteY241" fmla="*/ 422946 h 6858000"/>
                <a:gd name="connsiteX242" fmla="*/ 3300979 w 11863054"/>
                <a:gd name="connsiteY242" fmla="*/ 0 h 6858000"/>
                <a:gd name="connsiteX243" fmla="*/ 3281513 w 11863054"/>
                <a:gd name="connsiteY243" fmla="*/ 0 h 6858000"/>
                <a:gd name="connsiteX244" fmla="*/ 3042203 w 11863054"/>
                <a:gd name="connsiteY244" fmla="*/ 414691 h 6858000"/>
                <a:gd name="connsiteX245" fmla="*/ 2480855 w 11863054"/>
                <a:gd name="connsiteY245" fmla="*/ 414691 h 6858000"/>
                <a:gd name="connsiteX246" fmla="*/ 2241403 w 11863054"/>
                <a:gd name="connsiteY246" fmla="*/ 0 h 6858000"/>
                <a:gd name="connsiteX247" fmla="*/ 2222087 w 11863054"/>
                <a:gd name="connsiteY247" fmla="*/ 0 h 6858000"/>
                <a:gd name="connsiteX248" fmla="*/ 2466505 w 11863054"/>
                <a:gd name="connsiteY248" fmla="*/ 423389 h 6858000"/>
                <a:gd name="connsiteX249" fmla="*/ 2214697 w 11863054"/>
                <a:gd name="connsiteY249" fmla="*/ 859580 h 6858000"/>
                <a:gd name="connsiteX250" fmla="*/ 2186053 w 11863054"/>
                <a:gd name="connsiteY250" fmla="*/ 909278 h 6858000"/>
                <a:gd name="connsiteX251" fmla="*/ 1624539 w 11863054"/>
                <a:gd name="connsiteY251" fmla="*/ 909278 h 6858000"/>
                <a:gd name="connsiteX252" fmla="*/ 1344087 w 11863054"/>
                <a:gd name="connsiteY252" fmla="*/ 423445 h 6858000"/>
                <a:gd name="connsiteX253" fmla="*/ 1588559 w 11863054"/>
                <a:gd name="connsiteY253" fmla="*/ 0 h 6858000"/>
                <a:gd name="connsiteX254" fmla="*/ 1569223 w 11863054"/>
                <a:gd name="connsiteY254" fmla="*/ 0 h 6858000"/>
                <a:gd name="connsiteX255" fmla="*/ 1329461 w 11863054"/>
                <a:gd name="connsiteY255" fmla="*/ 415301 h 6858000"/>
                <a:gd name="connsiteX256" fmla="*/ 768446 w 11863054"/>
                <a:gd name="connsiteY256" fmla="*/ 415301 h 6858000"/>
                <a:gd name="connsiteX257" fmla="*/ 528589 w 11863054"/>
                <a:gd name="connsiteY257" fmla="*/ 0 h 6858000"/>
                <a:gd name="connsiteX258" fmla="*/ 509180 w 11863054"/>
                <a:gd name="connsiteY258" fmla="*/ 0 h 6858000"/>
                <a:gd name="connsiteX259" fmla="*/ 753764 w 11863054"/>
                <a:gd name="connsiteY259" fmla="*/ 423667 h 6858000"/>
                <a:gd name="connsiteX260" fmla="*/ 473201 w 11863054"/>
                <a:gd name="connsiteY260" fmla="*/ 909444 h 6858000"/>
                <a:gd name="connsiteX261" fmla="*/ 0 w 11863054"/>
                <a:gd name="connsiteY261" fmla="*/ 909444 h 6858000"/>
                <a:gd name="connsiteX262" fmla="*/ 0 w 11863054"/>
                <a:gd name="connsiteY262" fmla="*/ 926120 h 6858000"/>
                <a:gd name="connsiteX263" fmla="*/ 473201 w 11863054"/>
                <a:gd name="connsiteY263" fmla="*/ 926120 h 6858000"/>
                <a:gd name="connsiteX264" fmla="*/ 754041 w 11863054"/>
                <a:gd name="connsiteY264" fmla="*/ 1412285 h 6858000"/>
                <a:gd name="connsiteX265" fmla="*/ 473533 w 11863054"/>
                <a:gd name="connsiteY265" fmla="*/ 1898063 h 6858000"/>
                <a:gd name="connsiteX266" fmla="*/ 0 w 11863054"/>
                <a:gd name="connsiteY266" fmla="*/ 1898063 h 6858000"/>
                <a:gd name="connsiteX267" fmla="*/ 0 w 11863054"/>
                <a:gd name="connsiteY267" fmla="*/ 1914850 h 6858000"/>
                <a:gd name="connsiteX268" fmla="*/ 473533 w 11863054"/>
                <a:gd name="connsiteY268" fmla="*/ 1914850 h 6858000"/>
                <a:gd name="connsiteX269" fmla="*/ 753875 w 11863054"/>
                <a:gd name="connsiteY269" fmla="*/ 2400517 h 6858000"/>
                <a:gd name="connsiteX270" fmla="*/ 473201 w 11863054"/>
                <a:gd name="connsiteY270" fmla="*/ 2886737 h 6858000"/>
                <a:gd name="connsiteX271" fmla="*/ 0 w 11863054"/>
                <a:gd name="connsiteY271" fmla="*/ 2886737 h 6858000"/>
                <a:gd name="connsiteX272" fmla="*/ 0 w 11863054"/>
                <a:gd name="connsiteY272" fmla="*/ 2903414 h 6858000"/>
                <a:gd name="connsiteX273" fmla="*/ 472924 w 11863054"/>
                <a:gd name="connsiteY273" fmla="*/ 2903414 h 6858000"/>
                <a:gd name="connsiteX274" fmla="*/ 753597 w 11863054"/>
                <a:gd name="connsiteY274" fmla="*/ 3389579 h 6858000"/>
                <a:gd name="connsiteX275" fmla="*/ 473201 w 11863054"/>
                <a:gd name="connsiteY275" fmla="*/ 3875245 h 6858000"/>
                <a:gd name="connsiteX276" fmla="*/ 0 w 11863054"/>
                <a:gd name="connsiteY276" fmla="*/ 3875245 h 6858000"/>
                <a:gd name="connsiteX277" fmla="*/ 0 w 11863054"/>
                <a:gd name="connsiteY277" fmla="*/ 3892032 h 6858000"/>
                <a:gd name="connsiteX278" fmla="*/ 473367 w 11863054"/>
                <a:gd name="connsiteY278" fmla="*/ 3892032 h 6858000"/>
                <a:gd name="connsiteX279" fmla="*/ 753875 w 11863054"/>
                <a:gd name="connsiteY279" fmla="*/ 4377921 h 6858000"/>
                <a:gd name="connsiteX280" fmla="*/ 473201 w 11863054"/>
                <a:gd name="connsiteY280" fmla="*/ 4863975 h 6858000"/>
                <a:gd name="connsiteX281" fmla="*/ 0 w 11863054"/>
                <a:gd name="connsiteY281" fmla="*/ 4863975 h 6858000"/>
                <a:gd name="connsiteX282" fmla="*/ 0 w 11863054"/>
                <a:gd name="connsiteY282" fmla="*/ 4880651 h 6858000"/>
                <a:gd name="connsiteX283" fmla="*/ 473422 w 11863054"/>
                <a:gd name="connsiteY283" fmla="*/ 4880651 h 6858000"/>
                <a:gd name="connsiteX284" fmla="*/ 754041 w 11863054"/>
                <a:gd name="connsiteY284" fmla="*/ 5366650 h 6858000"/>
                <a:gd name="connsiteX285" fmla="*/ 473478 w 11863054"/>
                <a:gd name="connsiteY285" fmla="*/ 5852538 h 6858000"/>
                <a:gd name="connsiteX286" fmla="*/ 0 w 11863054"/>
                <a:gd name="connsiteY286" fmla="*/ 5852538 h 6858000"/>
                <a:gd name="connsiteX287" fmla="*/ 0 w 11863054"/>
                <a:gd name="connsiteY287" fmla="*/ 5869436 h 6858000"/>
                <a:gd name="connsiteX288" fmla="*/ 473699 w 11863054"/>
                <a:gd name="connsiteY288" fmla="*/ 5869436 h 6858000"/>
                <a:gd name="connsiteX289" fmla="*/ 754262 w 11863054"/>
                <a:gd name="connsiteY289" fmla="*/ 6355158 h 6858000"/>
                <a:gd name="connsiteX290" fmla="*/ 473644 w 11863054"/>
                <a:gd name="connsiteY290" fmla="*/ 6841324 h 6858000"/>
                <a:gd name="connsiteX291" fmla="*/ 0 w 11863054"/>
                <a:gd name="connsiteY291" fmla="*/ 6841324 h 6858000"/>
                <a:gd name="connsiteX292" fmla="*/ 0 w 11863054"/>
                <a:gd name="connsiteY292" fmla="*/ 6858000 h 6858000"/>
                <a:gd name="connsiteX293" fmla="*/ 483173 w 11863054"/>
                <a:gd name="connsiteY293" fmla="*/ 6858000 h 6858000"/>
                <a:gd name="connsiteX294" fmla="*/ 773377 w 11863054"/>
                <a:gd name="connsiteY294" fmla="*/ 6355214 h 6858000"/>
                <a:gd name="connsiteX295" fmla="*/ 487938 w 11863054"/>
                <a:gd name="connsiteY295" fmla="*/ 5860849 h 6858000"/>
                <a:gd name="connsiteX296" fmla="*/ 773266 w 11863054"/>
                <a:gd name="connsiteY296" fmla="*/ 5366761 h 6858000"/>
                <a:gd name="connsiteX297" fmla="*/ 487716 w 11863054"/>
                <a:gd name="connsiteY297" fmla="*/ 4872175 h 6858000"/>
                <a:gd name="connsiteX298" fmla="*/ 773099 w 11863054"/>
                <a:gd name="connsiteY298" fmla="*/ 4378031 h 6858000"/>
                <a:gd name="connsiteX299" fmla="*/ 487606 w 11863054"/>
                <a:gd name="connsiteY299" fmla="*/ 3883611 h 6858000"/>
                <a:gd name="connsiteX300" fmla="*/ 768002 w 11863054"/>
                <a:gd name="connsiteY300" fmla="*/ 3398111 h 6858000"/>
                <a:gd name="connsiteX301" fmla="*/ 1338990 w 11863054"/>
                <a:gd name="connsiteY301" fmla="*/ 3398111 h 6858000"/>
                <a:gd name="connsiteX302" fmla="*/ 1624539 w 11863054"/>
                <a:gd name="connsiteY302" fmla="*/ 2903469 h 6858000"/>
                <a:gd name="connsiteX303" fmla="*/ 2185943 w 11863054"/>
                <a:gd name="connsiteY303" fmla="*/ 2903469 h 6858000"/>
                <a:gd name="connsiteX304" fmla="*/ 2466505 w 11863054"/>
                <a:gd name="connsiteY304" fmla="*/ 3389246 h 6858000"/>
                <a:gd name="connsiteX305" fmla="*/ 2185887 w 11863054"/>
                <a:gd name="connsiteY305" fmla="*/ 3875245 h 6858000"/>
                <a:gd name="connsiteX306" fmla="*/ 1615010 w 11863054"/>
                <a:gd name="connsiteY306" fmla="*/ 3875245 h 6858000"/>
                <a:gd name="connsiteX307" fmla="*/ 1324807 w 11863054"/>
                <a:gd name="connsiteY307" fmla="*/ 4378031 h 6858000"/>
                <a:gd name="connsiteX308" fmla="*/ 1610245 w 11863054"/>
                <a:gd name="connsiteY308" fmla="*/ 4872396 h 6858000"/>
                <a:gd name="connsiteX309" fmla="*/ 1324973 w 11863054"/>
                <a:gd name="connsiteY309" fmla="*/ 5366595 h 6858000"/>
                <a:gd name="connsiteX310" fmla="*/ 1615232 w 11863054"/>
                <a:gd name="connsiteY310" fmla="*/ 5869215 h 6858000"/>
                <a:gd name="connsiteX311" fmla="*/ 2195693 w 11863054"/>
                <a:gd name="connsiteY311" fmla="*/ 5869215 h 6858000"/>
                <a:gd name="connsiteX312" fmla="*/ 2485952 w 11863054"/>
                <a:gd name="connsiteY312" fmla="*/ 5366539 h 6858000"/>
                <a:gd name="connsiteX313" fmla="*/ 2200403 w 11863054"/>
                <a:gd name="connsiteY313" fmla="*/ 4872064 h 6858000"/>
                <a:gd name="connsiteX314" fmla="*/ 2481021 w 11863054"/>
                <a:gd name="connsiteY314" fmla="*/ 4386120 h 6858000"/>
                <a:gd name="connsiteX315" fmla="*/ 3042369 w 11863054"/>
                <a:gd name="connsiteY315" fmla="*/ 4386120 h 6858000"/>
                <a:gd name="connsiteX316" fmla="*/ 3327641 w 11863054"/>
                <a:gd name="connsiteY316" fmla="*/ 4880263 h 6858000"/>
                <a:gd name="connsiteX317" fmla="*/ 3908214 w 11863054"/>
                <a:gd name="connsiteY317" fmla="*/ 4880263 h 6858000"/>
                <a:gd name="connsiteX318" fmla="*/ 4193541 w 11863054"/>
                <a:gd name="connsiteY318" fmla="*/ 4386120 h 6858000"/>
                <a:gd name="connsiteX319" fmla="*/ 4764474 w 11863054"/>
                <a:gd name="connsiteY319" fmla="*/ 4386120 h 6858000"/>
                <a:gd name="connsiteX320" fmla="*/ 5050023 w 11863054"/>
                <a:gd name="connsiteY320" fmla="*/ 3891478 h 6858000"/>
                <a:gd name="connsiteX321" fmla="*/ 5620734 w 11863054"/>
                <a:gd name="connsiteY321" fmla="*/ 3891478 h 6858000"/>
                <a:gd name="connsiteX322" fmla="*/ 5906173 w 11863054"/>
                <a:gd name="connsiteY322" fmla="*/ 3396948 h 6858000"/>
                <a:gd name="connsiteX323" fmla="*/ 6476938 w 11863054"/>
                <a:gd name="connsiteY323" fmla="*/ 3396948 h 6858000"/>
                <a:gd name="connsiteX324" fmla="*/ 6762488 w 11863054"/>
                <a:gd name="connsiteY324" fmla="*/ 2902416 h 6858000"/>
                <a:gd name="connsiteX325" fmla="*/ 7333199 w 11863054"/>
                <a:gd name="connsiteY325" fmla="*/ 2902416 h 6858000"/>
                <a:gd name="connsiteX326" fmla="*/ 7618637 w 11863054"/>
                <a:gd name="connsiteY326" fmla="*/ 2408218 h 6858000"/>
                <a:gd name="connsiteX327" fmla="*/ 8189569 w 11863054"/>
                <a:gd name="connsiteY327" fmla="*/ 2408218 h 6858000"/>
                <a:gd name="connsiteX328" fmla="*/ 8475063 w 11863054"/>
                <a:gd name="connsiteY328" fmla="*/ 1913631 h 6858000"/>
                <a:gd name="connsiteX329" fmla="*/ 9045830 w 11863054"/>
                <a:gd name="connsiteY329" fmla="*/ 1913631 h 6858000"/>
                <a:gd name="connsiteX330" fmla="*/ 9331379 w 11863054"/>
                <a:gd name="connsiteY330" fmla="*/ 1419100 h 6858000"/>
                <a:gd name="connsiteX331" fmla="*/ 9902145 w 11863054"/>
                <a:gd name="connsiteY331" fmla="*/ 1419100 h 6858000"/>
                <a:gd name="connsiteX332" fmla="*/ 10187584 w 11863054"/>
                <a:gd name="connsiteY332" fmla="*/ 924680 h 6858000"/>
                <a:gd name="connsiteX333" fmla="*/ 10758184 w 11863054"/>
                <a:gd name="connsiteY333" fmla="*/ 924680 h 6858000"/>
                <a:gd name="connsiteX334" fmla="*/ 11043511 w 11863054"/>
                <a:gd name="connsiteY334" fmla="*/ 430537 h 6858000"/>
                <a:gd name="connsiteX335" fmla="*/ 11614444 w 11863054"/>
                <a:gd name="connsiteY335" fmla="*/ 4305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11863054" h="6858000">
                  <a:moveTo>
                    <a:pt x="2186275" y="4880651"/>
                  </a:moveTo>
                  <a:lnTo>
                    <a:pt x="2466727" y="5366539"/>
                  </a:lnTo>
                  <a:lnTo>
                    <a:pt x="2186109" y="5852538"/>
                  </a:lnTo>
                  <a:lnTo>
                    <a:pt x="1624817" y="5852538"/>
                  </a:lnTo>
                  <a:lnTo>
                    <a:pt x="1344198" y="5366539"/>
                  </a:lnTo>
                  <a:lnTo>
                    <a:pt x="1624650" y="4880651"/>
                  </a:lnTo>
                  <a:close/>
                  <a:moveTo>
                    <a:pt x="2185887" y="3891755"/>
                  </a:moveTo>
                  <a:lnTo>
                    <a:pt x="2466505" y="4377921"/>
                  </a:lnTo>
                  <a:lnTo>
                    <a:pt x="2186053" y="4863753"/>
                  </a:lnTo>
                  <a:lnTo>
                    <a:pt x="1624539" y="4863753"/>
                  </a:lnTo>
                  <a:lnTo>
                    <a:pt x="1343977" y="4377921"/>
                  </a:lnTo>
                  <a:lnTo>
                    <a:pt x="1624650" y="3891755"/>
                  </a:lnTo>
                  <a:close/>
                  <a:moveTo>
                    <a:pt x="3898518" y="3891700"/>
                  </a:moveTo>
                  <a:lnTo>
                    <a:pt x="4179137" y="4377644"/>
                  </a:lnTo>
                  <a:lnTo>
                    <a:pt x="3898518" y="4863642"/>
                  </a:lnTo>
                  <a:lnTo>
                    <a:pt x="3337226" y="4863642"/>
                  </a:lnTo>
                  <a:lnTo>
                    <a:pt x="3056718" y="4377644"/>
                  </a:lnTo>
                  <a:lnTo>
                    <a:pt x="3337337" y="3891700"/>
                  </a:lnTo>
                  <a:close/>
                  <a:moveTo>
                    <a:pt x="4755000" y="3397502"/>
                  </a:moveTo>
                  <a:lnTo>
                    <a:pt x="5035508" y="3883389"/>
                  </a:lnTo>
                  <a:lnTo>
                    <a:pt x="4754778" y="4369444"/>
                  </a:lnTo>
                  <a:lnTo>
                    <a:pt x="4193652" y="4369444"/>
                  </a:lnTo>
                  <a:lnTo>
                    <a:pt x="3912978" y="3883223"/>
                  </a:lnTo>
                  <a:lnTo>
                    <a:pt x="4193541" y="3397502"/>
                  </a:lnTo>
                  <a:close/>
                  <a:moveTo>
                    <a:pt x="3042147" y="3397391"/>
                  </a:moveTo>
                  <a:lnTo>
                    <a:pt x="3322710" y="3883389"/>
                  </a:lnTo>
                  <a:lnTo>
                    <a:pt x="3042147" y="4369444"/>
                  </a:lnTo>
                  <a:lnTo>
                    <a:pt x="2480966" y="4369444"/>
                  </a:lnTo>
                  <a:lnTo>
                    <a:pt x="2200292" y="3883389"/>
                  </a:lnTo>
                  <a:lnTo>
                    <a:pt x="2480911" y="3397391"/>
                  </a:lnTo>
                  <a:close/>
                  <a:moveTo>
                    <a:pt x="3898186" y="2902970"/>
                  </a:moveTo>
                  <a:lnTo>
                    <a:pt x="4178860" y="3389136"/>
                  </a:lnTo>
                  <a:lnTo>
                    <a:pt x="3898463" y="3874857"/>
                  </a:lnTo>
                  <a:lnTo>
                    <a:pt x="3337115" y="3874857"/>
                  </a:lnTo>
                  <a:lnTo>
                    <a:pt x="3056607" y="3388969"/>
                  </a:lnTo>
                  <a:lnTo>
                    <a:pt x="3337115" y="2902970"/>
                  </a:lnTo>
                  <a:close/>
                  <a:moveTo>
                    <a:pt x="5611205" y="2902915"/>
                  </a:moveTo>
                  <a:lnTo>
                    <a:pt x="5891712" y="3388748"/>
                  </a:lnTo>
                  <a:lnTo>
                    <a:pt x="5611149" y="3874857"/>
                  </a:lnTo>
                  <a:lnTo>
                    <a:pt x="5049857" y="3874857"/>
                  </a:lnTo>
                  <a:lnTo>
                    <a:pt x="4769239" y="3388969"/>
                  </a:lnTo>
                  <a:lnTo>
                    <a:pt x="5049857" y="2902915"/>
                  </a:lnTo>
                  <a:close/>
                  <a:moveTo>
                    <a:pt x="1329350" y="2409215"/>
                  </a:moveTo>
                  <a:lnTo>
                    <a:pt x="1609968" y="2895269"/>
                  </a:lnTo>
                  <a:lnTo>
                    <a:pt x="1329350" y="3381379"/>
                  </a:lnTo>
                  <a:lnTo>
                    <a:pt x="768224" y="3381379"/>
                  </a:lnTo>
                  <a:lnTo>
                    <a:pt x="487716" y="2895546"/>
                  </a:lnTo>
                  <a:lnTo>
                    <a:pt x="768501" y="2409215"/>
                  </a:lnTo>
                  <a:close/>
                  <a:moveTo>
                    <a:pt x="3041981" y="2408883"/>
                  </a:moveTo>
                  <a:lnTo>
                    <a:pt x="3322599" y="2894826"/>
                  </a:lnTo>
                  <a:lnTo>
                    <a:pt x="3042092" y="3380714"/>
                  </a:lnTo>
                  <a:lnTo>
                    <a:pt x="2480855" y="3380714"/>
                  </a:lnTo>
                  <a:lnTo>
                    <a:pt x="2200126" y="2894715"/>
                  </a:lnTo>
                  <a:lnTo>
                    <a:pt x="2480689" y="2408883"/>
                  </a:lnTo>
                  <a:close/>
                  <a:moveTo>
                    <a:pt x="4754612" y="2408827"/>
                  </a:moveTo>
                  <a:lnTo>
                    <a:pt x="5035231" y="2894715"/>
                  </a:lnTo>
                  <a:lnTo>
                    <a:pt x="4754612" y="3380714"/>
                  </a:lnTo>
                  <a:lnTo>
                    <a:pt x="4193375" y="3380714"/>
                  </a:lnTo>
                  <a:lnTo>
                    <a:pt x="3912757" y="2894715"/>
                  </a:lnTo>
                  <a:lnTo>
                    <a:pt x="4193320" y="2408827"/>
                  </a:lnTo>
                  <a:close/>
                  <a:moveTo>
                    <a:pt x="6467576" y="2408384"/>
                  </a:moveTo>
                  <a:lnTo>
                    <a:pt x="6748083" y="2894217"/>
                  </a:lnTo>
                  <a:lnTo>
                    <a:pt x="6467409" y="3380326"/>
                  </a:lnTo>
                  <a:lnTo>
                    <a:pt x="5906173" y="3380326"/>
                  </a:lnTo>
                  <a:lnTo>
                    <a:pt x="5625554" y="2894272"/>
                  </a:lnTo>
                  <a:lnTo>
                    <a:pt x="5906006" y="2408384"/>
                  </a:lnTo>
                  <a:close/>
                  <a:moveTo>
                    <a:pt x="2185610" y="1914628"/>
                  </a:moveTo>
                  <a:lnTo>
                    <a:pt x="2466229" y="2400572"/>
                  </a:lnTo>
                  <a:lnTo>
                    <a:pt x="2423402" y="2474702"/>
                  </a:lnTo>
                  <a:lnTo>
                    <a:pt x="2185555" y="2886737"/>
                  </a:lnTo>
                  <a:lnTo>
                    <a:pt x="1624318" y="2886737"/>
                  </a:lnTo>
                  <a:lnTo>
                    <a:pt x="1344087" y="2401292"/>
                  </a:lnTo>
                  <a:lnTo>
                    <a:pt x="1625093" y="1914628"/>
                  </a:lnTo>
                  <a:close/>
                  <a:moveTo>
                    <a:pt x="3898186" y="1914462"/>
                  </a:moveTo>
                  <a:lnTo>
                    <a:pt x="4178804" y="2400461"/>
                  </a:lnTo>
                  <a:lnTo>
                    <a:pt x="3898241" y="2886349"/>
                  </a:lnTo>
                  <a:lnTo>
                    <a:pt x="3337115" y="2886349"/>
                  </a:lnTo>
                  <a:lnTo>
                    <a:pt x="3056441" y="2400295"/>
                  </a:lnTo>
                  <a:lnTo>
                    <a:pt x="3336949" y="1914462"/>
                  </a:lnTo>
                  <a:close/>
                  <a:moveTo>
                    <a:pt x="5610872" y="1914185"/>
                  </a:moveTo>
                  <a:lnTo>
                    <a:pt x="5891491" y="2400240"/>
                  </a:lnTo>
                  <a:lnTo>
                    <a:pt x="5610983" y="2886072"/>
                  </a:lnTo>
                  <a:lnTo>
                    <a:pt x="5049469" y="2886072"/>
                  </a:lnTo>
                  <a:lnTo>
                    <a:pt x="4768962" y="2400295"/>
                  </a:lnTo>
                  <a:lnTo>
                    <a:pt x="5049635" y="1914185"/>
                  </a:lnTo>
                  <a:close/>
                  <a:moveTo>
                    <a:pt x="7323669" y="1913853"/>
                  </a:moveTo>
                  <a:lnTo>
                    <a:pt x="7604232" y="2399852"/>
                  </a:lnTo>
                  <a:lnTo>
                    <a:pt x="7323669" y="2885740"/>
                  </a:lnTo>
                  <a:lnTo>
                    <a:pt x="6762377" y="2885740"/>
                  </a:lnTo>
                  <a:lnTo>
                    <a:pt x="6481870" y="2399741"/>
                  </a:lnTo>
                  <a:lnTo>
                    <a:pt x="6762322" y="1913853"/>
                  </a:lnTo>
                  <a:close/>
                  <a:moveTo>
                    <a:pt x="1330015" y="1420652"/>
                  </a:moveTo>
                  <a:lnTo>
                    <a:pt x="1610135" y="1905930"/>
                  </a:lnTo>
                  <a:lnTo>
                    <a:pt x="1329073" y="2392594"/>
                  </a:lnTo>
                  <a:lnTo>
                    <a:pt x="768723" y="2392594"/>
                  </a:lnTo>
                  <a:lnTo>
                    <a:pt x="487993" y="1906429"/>
                  </a:lnTo>
                  <a:lnTo>
                    <a:pt x="768446" y="1420652"/>
                  </a:lnTo>
                  <a:close/>
                  <a:moveTo>
                    <a:pt x="4754612" y="1420208"/>
                  </a:moveTo>
                  <a:lnTo>
                    <a:pt x="5035175" y="1906096"/>
                  </a:lnTo>
                  <a:lnTo>
                    <a:pt x="4754391" y="2392151"/>
                  </a:lnTo>
                  <a:lnTo>
                    <a:pt x="4193375" y="2392151"/>
                  </a:lnTo>
                  <a:lnTo>
                    <a:pt x="3912646" y="1905986"/>
                  </a:lnTo>
                  <a:lnTo>
                    <a:pt x="4193098" y="1420208"/>
                  </a:lnTo>
                  <a:close/>
                  <a:moveTo>
                    <a:pt x="3041704" y="1420097"/>
                  </a:moveTo>
                  <a:lnTo>
                    <a:pt x="3322322" y="1906207"/>
                  </a:lnTo>
                  <a:lnTo>
                    <a:pt x="3041925" y="2391985"/>
                  </a:lnTo>
                  <a:lnTo>
                    <a:pt x="2480523" y="2391985"/>
                  </a:lnTo>
                  <a:lnTo>
                    <a:pt x="2200347" y="1906706"/>
                  </a:lnTo>
                  <a:lnTo>
                    <a:pt x="2481187" y="1420097"/>
                  </a:lnTo>
                  <a:close/>
                  <a:moveTo>
                    <a:pt x="6467243" y="1419654"/>
                  </a:moveTo>
                  <a:lnTo>
                    <a:pt x="6747862" y="1905597"/>
                  </a:lnTo>
                  <a:lnTo>
                    <a:pt x="6467409" y="2391486"/>
                  </a:lnTo>
                  <a:lnTo>
                    <a:pt x="5905785" y="2391486"/>
                  </a:lnTo>
                  <a:lnTo>
                    <a:pt x="5625333" y="1905708"/>
                  </a:lnTo>
                  <a:lnTo>
                    <a:pt x="5735696" y="1714456"/>
                  </a:lnTo>
                  <a:lnTo>
                    <a:pt x="5905950" y="1419654"/>
                  </a:lnTo>
                  <a:close/>
                  <a:moveTo>
                    <a:pt x="8180151" y="1419654"/>
                  </a:moveTo>
                  <a:lnTo>
                    <a:pt x="8460603" y="1905487"/>
                  </a:lnTo>
                  <a:lnTo>
                    <a:pt x="8179984" y="2391652"/>
                  </a:lnTo>
                  <a:lnTo>
                    <a:pt x="7618914" y="2391652"/>
                  </a:lnTo>
                  <a:lnTo>
                    <a:pt x="7338130" y="1905432"/>
                  </a:lnTo>
                  <a:lnTo>
                    <a:pt x="7618582" y="1419654"/>
                  </a:lnTo>
                  <a:close/>
                  <a:moveTo>
                    <a:pt x="2186164" y="926120"/>
                  </a:moveTo>
                  <a:lnTo>
                    <a:pt x="2466395" y="1411344"/>
                  </a:lnTo>
                  <a:lnTo>
                    <a:pt x="2185555" y="1897952"/>
                  </a:lnTo>
                  <a:lnTo>
                    <a:pt x="1624817" y="1897952"/>
                  </a:lnTo>
                  <a:lnTo>
                    <a:pt x="1344253" y="1412064"/>
                  </a:lnTo>
                  <a:lnTo>
                    <a:pt x="1624817" y="926120"/>
                  </a:lnTo>
                  <a:close/>
                  <a:moveTo>
                    <a:pt x="3897853" y="925677"/>
                  </a:moveTo>
                  <a:lnTo>
                    <a:pt x="4178583" y="1411842"/>
                  </a:lnTo>
                  <a:lnTo>
                    <a:pt x="3898186" y="1897620"/>
                  </a:lnTo>
                  <a:lnTo>
                    <a:pt x="3336838" y="1897620"/>
                  </a:lnTo>
                  <a:lnTo>
                    <a:pt x="3056607" y="1412174"/>
                  </a:lnTo>
                  <a:lnTo>
                    <a:pt x="3337503" y="925677"/>
                  </a:lnTo>
                  <a:close/>
                  <a:moveTo>
                    <a:pt x="5610872" y="925622"/>
                  </a:moveTo>
                  <a:lnTo>
                    <a:pt x="5891380" y="1411455"/>
                  </a:lnTo>
                  <a:lnTo>
                    <a:pt x="5710376" y="1725093"/>
                  </a:lnTo>
                  <a:lnTo>
                    <a:pt x="5610761" y="1897453"/>
                  </a:lnTo>
                  <a:lnTo>
                    <a:pt x="5049414" y="1897453"/>
                  </a:lnTo>
                  <a:lnTo>
                    <a:pt x="4768851" y="1411565"/>
                  </a:lnTo>
                  <a:lnTo>
                    <a:pt x="5049469" y="925622"/>
                  </a:lnTo>
                  <a:close/>
                  <a:moveTo>
                    <a:pt x="7323392" y="925123"/>
                  </a:moveTo>
                  <a:lnTo>
                    <a:pt x="7604121" y="1411344"/>
                  </a:lnTo>
                  <a:lnTo>
                    <a:pt x="7323558" y="1896955"/>
                  </a:lnTo>
                  <a:lnTo>
                    <a:pt x="6762100" y="1896955"/>
                  </a:lnTo>
                  <a:lnTo>
                    <a:pt x="6481537" y="1411178"/>
                  </a:lnTo>
                  <a:lnTo>
                    <a:pt x="6591069" y="1221532"/>
                  </a:lnTo>
                  <a:lnTo>
                    <a:pt x="6762266" y="925123"/>
                  </a:lnTo>
                  <a:close/>
                  <a:moveTo>
                    <a:pt x="9036411" y="925068"/>
                  </a:moveTo>
                  <a:lnTo>
                    <a:pt x="9316919" y="1410955"/>
                  </a:lnTo>
                  <a:lnTo>
                    <a:pt x="9036245" y="1896955"/>
                  </a:lnTo>
                  <a:lnTo>
                    <a:pt x="8475008" y="1896955"/>
                  </a:lnTo>
                  <a:lnTo>
                    <a:pt x="8194389" y="1411066"/>
                  </a:lnTo>
                  <a:lnTo>
                    <a:pt x="8475008" y="925068"/>
                  </a:lnTo>
                  <a:close/>
                  <a:moveTo>
                    <a:pt x="1329738" y="432032"/>
                  </a:moveTo>
                  <a:lnTo>
                    <a:pt x="1610245" y="917810"/>
                  </a:lnTo>
                  <a:lnTo>
                    <a:pt x="1329627" y="1403864"/>
                  </a:lnTo>
                  <a:lnTo>
                    <a:pt x="768446" y="1403864"/>
                  </a:lnTo>
                  <a:lnTo>
                    <a:pt x="487827" y="917810"/>
                  </a:lnTo>
                  <a:lnTo>
                    <a:pt x="768335" y="432032"/>
                  </a:lnTo>
                  <a:close/>
                  <a:moveTo>
                    <a:pt x="3042369" y="431534"/>
                  </a:moveTo>
                  <a:lnTo>
                    <a:pt x="3322599" y="916979"/>
                  </a:lnTo>
                  <a:lnTo>
                    <a:pt x="3041704" y="1403366"/>
                  </a:lnTo>
                  <a:lnTo>
                    <a:pt x="2481187" y="1403366"/>
                  </a:lnTo>
                  <a:lnTo>
                    <a:pt x="2200569" y="917422"/>
                  </a:lnTo>
                  <a:lnTo>
                    <a:pt x="2481021" y="431534"/>
                  </a:lnTo>
                  <a:close/>
                  <a:moveTo>
                    <a:pt x="4754335" y="431534"/>
                  </a:moveTo>
                  <a:lnTo>
                    <a:pt x="5034898" y="917477"/>
                  </a:lnTo>
                  <a:lnTo>
                    <a:pt x="4754169" y="1403366"/>
                  </a:lnTo>
                  <a:lnTo>
                    <a:pt x="4193043" y="1403366"/>
                  </a:lnTo>
                  <a:lnTo>
                    <a:pt x="3912701" y="917810"/>
                  </a:lnTo>
                  <a:lnTo>
                    <a:pt x="4193541" y="431534"/>
                  </a:lnTo>
                  <a:close/>
                  <a:moveTo>
                    <a:pt x="6467243" y="431090"/>
                  </a:moveTo>
                  <a:lnTo>
                    <a:pt x="6747695" y="916979"/>
                  </a:lnTo>
                  <a:lnTo>
                    <a:pt x="6693400" y="1011054"/>
                  </a:lnTo>
                  <a:lnTo>
                    <a:pt x="6467077" y="1403033"/>
                  </a:lnTo>
                  <a:lnTo>
                    <a:pt x="5905729" y="1403033"/>
                  </a:lnTo>
                  <a:lnTo>
                    <a:pt x="5625166" y="916979"/>
                  </a:lnTo>
                  <a:lnTo>
                    <a:pt x="5905674" y="431090"/>
                  </a:lnTo>
                  <a:close/>
                  <a:moveTo>
                    <a:pt x="8179874" y="431035"/>
                  </a:moveTo>
                  <a:lnTo>
                    <a:pt x="8460326" y="916812"/>
                  </a:lnTo>
                  <a:lnTo>
                    <a:pt x="8179818" y="1402867"/>
                  </a:lnTo>
                  <a:lnTo>
                    <a:pt x="7618582" y="1402867"/>
                  </a:lnTo>
                  <a:lnTo>
                    <a:pt x="7337963" y="916812"/>
                  </a:lnTo>
                  <a:lnTo>
                    <a:pt x="7618471" y="431035"/>
                  </a:lnTo>
                  <a:close/>
                  <a:moveTo>
                    <a:pt x="9892505" y="430592"/>
                  </a:moveTo>
                  <a:lnTo>
                    <a:pt x="10173123" y="916536"/>
                  </a:lnTo>
                  <a:lnTo>
                    <a:pt x="9892560" y="1402534"/>
                  </a:lnTo>
                  <a:lnTo>
                    <a:pt x="9331323" y="1402534"/>
                  </a:lnTo>
                  <a:lnTo>
                    <a:pt x="9050650" y="916424"/>
                  </a:lnTo>
                  <a:lnTo>
                    <a:pt x="9331157" y="430592"/>
                  </a:lnTo>
                  <a:close/>
                  <a:moveTo>
                    <a:pt x="11863054" y="0"/>
                  </a:moveTo>
                  <a:lnTo>
                    <a:pt x="11843939" y="0"/>
                  </a:lnTo>
                  <a:lnTo>
                    <a:pt x="11604970" y="413916"/>
                  </a:lnTo>
                  <a:lnTo>
                    <a:pt x="11043788" y="413916"/>
                  </a:lnTo>
                  <a:lnTo>
                    <a:pt x="10804853" y="0"/>
                  </a:lnTo>
                  <a:lnTo>
                    <a:pt x="10785529" y="0"/>
                  </a:lnTo>
                  <a:lnTo>
                    <a:pt x="11029217" y="422170"/>
                  </a:lnTo>
                  <a:lnTo>
                    <a:pt x="10748654" y="908114"/>
                  </a:lnTo>
                  <a:lnTo>
                    <a:pt x="10187639" y="908114"/>
                  </a:lnTo>
                  <a:lnTo>
                    <a:pt x="9906965" y="421949"/>
                  </a:lnTo>
                  <a:lnTo>
                    <a:pt x="10150539" y="0"/>
                  </a:lnTo>
                  <a:lnTo>
                    <a:pt x="10131190" y="0"/>
                  </a:lnTo>
                  <a:lnTo>
                    <a:pt x="9892339" y="413638"/>
                  </a:lnTo>
                  <a:lnTo>
                    <a:pt x="9330991" y="413638"/>
                  </a:lnTo>
                  <a:lnTo>
                    <a:pt x="9092139" y="0"/>
                  </a:lnTo>
                  <a:lnTo>
                    <a:pt x="9072826" y="0"/>
                  </a:lnTo>
                  <a:lnTo>
                    <a:pt x="9316642" y="422392"/>
                  </a:lnTo>
                  <a:lnTo>
                    <a:pt x="9036189" y="908170"/>
                  </a:lnTo>
                  <a:lnTo>
                    <a:pt x="8474731" y="908170"/>
                  </a:lnTo>
                  <a:lnTo>
                    <a:pt x="8194168" y="422503"/>
                  </a:lnTo>
                  <a:lnTo>
                    <a:pt x="8438136" y="0"/>
                  </a:lnTo>
                  <a:lnTo>
                    <a:pt x="8418811" y="0"/>
                  </a:lnTo>
                  <a:lnTo>
                    <a:pt x="8179597" y="414303"/>
                  </a:lnTo>
                  <a:lnTo>
                    <a:pt x="7618582" y="414303"/>
                  </a:lnTo>
                  <a:lnTo>
                    <a:pt x="7379274" y="0"/>
                  </a:lnTo>
                  <a:lnTo>
                    <a:pt x="7359940" y="0"/>
                  </a:lnTo>
                  <a:lnTo>
                    <a:pt x="7603955" y="422558"/>
                  </a:lnTo>
                  <a:lnTo>
                    <a:pt x="7323337" y="908447"/>
                  </a:lnTo>
                  <a:lnTo>
                    <a:pt x="6762100" y="908447"/>
                  </a:lnTo>
                  <a:lnTo>
                    <a:pt x="6481482" y="422503"/>
                  </a:lnTo>
                  <a:lnTo>
                    <a:pt x="6725445" y="0"/>
                  </a:lnTo>
                  <a:lnTo>
                    <a:pt x="6706132" y="0"/>
                  </a:lnTo>
                  <a:lnTo>
                    <a:pt x="6466910" y="414303"/>
                  </a:lnTo>
                  <a:lnTo>
                    <a:pt x="5905508" y="414303"/>
                  </a:lnTo>
                  <a:lnTo>
                    <a:pt x="5666338" y="0"/>
                  </a:lnTo>
                  <a:lnTo>
                    <a:pt x="5646974" y="0"/>
                  </a:lnTo>
                  <a:lnTo>
                    <a:pt x="5891214" y="422946"/>
                  </a:lnTo>
                  <a:lnTo>
                    <a:pt x="5618463" y="895261"/>
                  </a:lnTo>
                  <a:lnTo>
                    <a:pt x="5610706" y="908835"/>
                  </a:lnTo>
                  <a:lnTo>
                    <a:pt x="5049192" y="908835"/>
                  </a:lnTo>
                  <a:lnTo>
                    <a:pt x="4769017" y="423556"/>
                  </a:lnTo>
                  <a:lnTo>
                    <a:pt x="5013591" y="0"/>
                  </a:lnTo>
                  <a:lnTo>
                    <a:pt x="4993649" y="0"/>
                  </a:lnTo>
                  <a:lnTo>
                    <a:pt x="4754058" y="414857"/>
                  </a:lnTo>
                  <a:lnTo>
                    <a:pt x="4193652" y="414857"/>
                  </a:lnTo>
                  <a:lnTo>
                    <a:pt x="3954146" y="0"/>
                  </a:lnTo>
                  <a:lnTo>
                    <a:pt x="3934827" y="0"/>
                  </a:lnTo>
                  <a:lnTo>
                    <a:pt x="4178860" y="422669"/>
                  </a:lnTo>
                  <a:lnTo>
                    <a:pt x="3898186" y="909056"/>
                  </a:lnTo>
                  <a:lnTo>
                    <a:pt x="3337503" y="909056"/>
                  </a:lnTo>
                  <a:lnTo>
                    <a:pt x="3056829" y="422946"/>
                  </a:lnTo>
                  <a:lnTo>
                    <a:pt x="3300979" y="0"/>
                  </a:lnTo>
                  <a:lnTo>
                    <a:pt x="3281513" y="0"/>
                  </a:lnTo>
                  <a:lnTo>
                    <a:pt x="3042203" y="414691"/>
                  </a:lnTo>
                  <a:lnTo>
                    <a:pt x="2480855" y="414691"/>
                  </a:lnTo>
                  <a:lnTo>
                    <a:pt x="2241403" y="0"/>
                  </a:lnTo>
                  <a:lnTo>
                    <a:pt x="2222087" y="0"/>
                  </a:lnTo>
                  <a:lnTo>
                    <a:pt x="2466505" y="423389"/>
                  </a:lnTo>
                  <a:lnTo>
                    <a:pt x="2214697" y="859580"/>
                  </a:lnTo>
                  <a:lnTo>
                    <a:pt x="2186053" y="909278"/>
                  </a:lnTo>
                  <a:lnTo>
                    <a:pt x="1624539" y="909278"/>
                  </a:lnTo>
                  <a:lnTo>
                    <a:pt x="1344087" y="423445"/>
                  </a:lnTo>
                  <a:lnTo>
                    <a:pt x="1588559" y="0"/>
                  </a:lnTo>
                  <a:lnTo>
                    <a:pt x="1569223" y="0"/>
                  </a:lnTo>
                  <a:lnTo>
                    <a:pt x="1329461" y="415301"/>
                  </a:lnTo>
                  <a:lnTo>
                    <a:pt x="768446" y="415301"/>
                  </a:lnTo>
                  <a:lnTo>
                    <a:pt x="528589" y="0"/>
                  </a:lnTo>
                  <a:lnTo>
                    <a:pt x="509180" y="0"/>
                  </a:lnTo>
                  <a:lnTo>
                    <a:pt x="753764" y="423667"/>
                  </a:lnTo>
                  <a:lnTo>
                    <a:pt x="473201" y="909444"/>
                  </a:lnTo>
                  <a:lnTo>
                    <a:pt x="0" y="909444"/>
                  </a:lnTo>
                  <a:lnTo>
                    <a:pt x="0" y="926120"/>
                  </a:lnTo>
                  <a:lnTo>
                    <a:pt x="473201" y="926120"/>
                  </a:lnTo>
                  <a:lnTo>
                    <a:pt x="754041" y="1412285"/>
                  </a:lnTo>
                  <a:lnTo>
                    <a:pt x="473533" y="1898063"/>
                  </a:lnTo>
                  <a:lnTo>
                    <a:pt x="0" y="1898063"/>
                  </a:lnTo>
                  <a:lnTo>
                    <a:pt x="0" y="1914850"/>
                  </a:lnTo>
                  <a:lnTo>
                    <a:pt x="473533" y="1914850"/>
                  </a:lnTo>
                  <a:lnTo>
                    <a:pt x="753875" y="2400517"/>
                  </a:lnTo>
                  <a:lnTo>
                    <a:pt x="473201" y="2886737"/>
                  </a:lnTo>
                  <a:lnTo>
                    <a:pt x="0" y="2886737"/>
                  </a:lnTo>
                  <a:lnTo>
                    <a:pt x="0" y="2903414"/>
                  </a:lnTo>
                  <a:lnTo>
                    <a:pt x="472924" y="2903414"/>
                  </a:lnTo>
                  <a:lnTo>
                    <a:pt x="753597" y="3389579"/>
                  </a:lnTo>
                  <a:lnTo>
                    <a:pt x="473201" y="3875245"/>
                  </a:lnTo>
                  <a:lnTo>
                    <a:pt x="0" y="3875245"/>
                  </a:lnTo>
                  <a:lnTo>
                    <a:pt x="0" y="3892032"/>
                  </a:lnTo>
                  <a:lnTo>
                    <a:pt x="473367" y="3892032"/>
                  </a:lnTo>
                  <a:lnTo>
                    <a:pt x="753875" y="4377921"/>
                  </a:lnTo>
                  <a:lnTo>
                    <a:pt x="473201" y="4863975"/>
                  </a:lnTo>
                  <a:lnTo>
                    <a:pt x="0" y="4863975"/>
                  </a:lnTo>
                  <a:lnTo>
                    <a:pt x="0" y="4880651"/>
                  </a:lnTo>
                  <a:lnTo>
                    <a:pt x="473422" y="4880651"/>
                  </a:lnTo>
                  <a:lnTo>
                    <a:pt x="754041" y="5366650"/>
                  </a:lnTo>
                  <a:lnTo>
                    <a:pt x="473478" y="5852538"/>
                  </a:lnTo>
                  <a:lnTo>
                    <a:pt x="0" y="5852538"/>
                  </a:lnTo>
                  <a:lnTo>
                    <a:pt x="0" y="5869436"/>
                  </a:lnTo>
                  <a:lnTo>
                    <a:pt x="473699" y="5869436"/>
                  </a:lnTo>
                  <a:lnTo>
                    <a:pt x="754262" y="6355158"/>
                  </a:lnTo>
                  <a:lnTo>
                    <a:pt x="473644" y="6841324"/>
                  </a:lnTo>
                  <a:lnTo>
                    <a:pt x="0" y="6841324"/>
                  </a:lnTo>
                  <a:lnTo>
                    <a:pt x="0" y="6858000"/>
                  </a:lnTo>
                  <a:lnTo>
                    <a:pt x="483173" y="6858000"/>
                  </a:lnTo>
                  <a:lnTo>
                    <a:pt x="773377" y="6355214"/>
                  </a:lnTo>
                  <a:lnTo>
                    <a:pt x="487938" y="5860849"/>
                  </a:lnTo>
                  <a:lnTo>
                    <a:pt x="773266" y="5366761"/>
                  </a:lnTo>
                  <a:lnTo>
                    <a:pt x="487716" y="4872175"/>
                  </a:lnTo>
                  <a:lnTo>
                    <a:pt x="773099" y="4378031"/>
                  </a:lnTo>
                  <a:lnTo>
                    <a:pt x="487606" y="3883611"/>
                  </a:lnTo>
                  <a:lnTo>
                    <a:pt x="768002" y="3398111"/>
                  </a:lnTo>
                  <a:lnTo>
                    <a:pt x="1338990" y="3398111"/>
                  </a:lnTo>
                  <a:lnTo>
                    <a:pt x="1624539" y="2903469"/>
                  </a:lnTo>
                  <a:lnTo>
                    <a:pt x="2185943" y="2903469"/>
                  </a:lnTo>
                  <a:lnTo>
                    <a:pt x="2466505" y="3389246"/>
                  </a:lnTo>
                  <a:lnTo>
                    <a:pt x="2185887" y="3875245"/>
                  </a:lnTo>
                  <a:lnTo>
                    <a:pt x="1615010" y="3875245"/>
                  </a:lnTo>
                  <a:lnTo>
                    <a:pt x="1324807" y="4378031"/>
                  </a:lnTo>
                  <a:lnTo>
                    <a:pt x="1610245" y="4872396"/>
                  </a:lnTo>
                  <a:lnTo>
                    <a:pt x="1324973" y="5366595"/>
                  </a:lnTo>
                  <a:lnTo>
                    <a:pt x="1615232" y="5869215"/>
                  </a:lnTo>
                  <a:lnTo>
                    <a:pt x="2195693" y="5869215"/>
                  </a:lnTo>
                  <a:lnTo>
                    <a:pt x="2485952" y="5366539"/>
                  </a:lnTo>
                  <a:lnTo>
                    <a:pt x="2200403" y="4872064"/>
                  </a:lnTo>
                  <a:lnTo>
                    <a:pt x="2481021" y="4386120"/>
                  </a:lnTo>
                  <a:lnTo>
                    <a:pt x="3042369" y="4386120"/>
                  </a:lnTo>
                  <a:lnTo>
                    <a:pt x="3327641" y="4880263"/>
                  </a:lnTo>
                  <a:lnTo>
                    <a:pt x="3908214" y="4880263"/>
                  </a:lnTo>
                  <a:lnTo>
                    <a:pt x="4193541" y="4386120"/>
                  </a:lnTo>
                  <a:lnTo>
                    <a:pt x="4764474" y="4386120"/>
                  </a:lnTo>
                  <a:lnTo>
                    <a:pt x="5050023" y="3891478"/>
                  </a:lnTo>
                  <a:lnTo>
                    <a:pt x="5620734" y="3891478"/>
                  </a:lnTo>
                  <a:lnTo>
                    <a:pt x="5906173" y="3396948"/>
                  </a:lnTo>
                  <a:lnTo>
                    <a:pt x="6476938" y="3396948"/>
                  </a:lnTo>
                  <a:lnTo>
                    <a:pt x="6762488" y="2902416"/>
                  </a:lnTo>
                  <a:lnTo>
                    <a:pt x="7333199" y="2902416"/>
                  </a:lnTo>
                  <a:lnTo>
                    <a:pt x="7618637" y="2408218"/>
                  </a:lnTo>
                  <a:lnTo>
                    <a:pt x="8189569" y="2408218"/>
                  </a:lnTo>
                  <a:lnTo>
                    <a:pt x="8475063" y="1913631"/>
                  </a:lnTo>
                  <a:lnTo>
                    <a:pt x="9045830" y="1913631"/>
                  </a:lnTo>
                  <a:lnTo>
                    <a:pt x="9331379" y="1419100"/>
                  </a:lnTo>
                  <a:lnTo>
                    <a:pt x="9902145" y="1419100"/>
                  </a:lnTo>
                  <a:lnTo>
                    <a:pt x="10187584" y="924680"/>
                  </a:lnTo>
                  <a:lnTo>
                    <a:pt x="10758184" y="924680"/>
                  </a:lnTo>
                  <a:lnTo>
                    <a:pt x="11043511" y="430537"/>
                  </a:lnTo>
                  <a:lnTo>
                    <a:pt x="11614444" y="430537"/>
                  </a:lnTo>
                  <a:close/>
                </a:path>
              </a:pathLst>
            </a:custGeom>
            <a:solidFill>
              <a:srgbClr val="B2B2B2">
                <a:alpha val="15000"/>
              </a:srgbClr>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endParaRPr>
            </a:p>
          </p:txBody>
        </p:sp>
      </p:grpSp>
      <p:pic>
        <p:nvPicPr>
          <p:cNvPr id="39" name="Picture 19" descr="Gavi-logo - The Rockefeller Foundation">
            <a:extLst>
              <a:ext uri="{FF2B5EF4-FFF2-40B4-BE49-F238E27FC236}">
                <a16:creationId xmlns:a16="http://schemas.microsoft.com/office/drawing/2014/main" id="{344CFC41-0FC4-4E79-AD13-21411F6B79B0}"/>
              </a:ext>
            </a:extLst>
          </p:cNvPr>
          <p:cNvPicPr>
            <a:picLocks noChangeAspect="1" noChangeArrowheads="1"/>
          </p:cNvPicPr>
          <p:nvPr userDrawn="1"/>
        </p:nvPicPr>
        <p:blipFill rotWithShape="1">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r="-945"/>
          <a:stretch/>
        </p:blipFill>
        <p:spPr bwMode="ltGray">
          <a:xfrm>
            <a:off x="525802" y="2586861"/>
            <a:ext cx="1525462" cy="566694"/>
          </a:xfrm>
          <a:prstGeom prst="rect">
            <a:avLst/>
          </a:prstGeom>
          <a:extLst>
            <a:ext uri="{909E8E84-426E-40DD-AFC4-6F175D3DCCD1}">
              <a14:hiddenFill xmlns:a14="http://schemas.microsoft.com/office/drawing/2010/main">
                <a:solidFill>
                  <a:srgbClr val="FFFFFF"/>
                </a:solidFill>
              </a14:hiddenFill>
            </a:ext>
          </a:extLst>
        </p:spPr>
      </p:pic>
      <p:pic>
        <p:nvPicPr>
          <p:cNvPr id="40" name="Picture 39" descr="World Health Organization (WHO) – Logos Download">
            <a:extLst>
              <a:ext uri="{FF2B5EF4-FFF2-40B4-BE49-F238E27FC236}">
                <a16:creationId xmlns:a16="http://schemas.microsoft.com/office/drawing/2014/main" id="{6B9B686F-C919-48C3-8CFD-4F800B703AC2}"/>
              </a:ext>
            </a:extLst>
          </p:cNvPr>
          <p:cNvPicPr>
            <a:picLocks noChangeAspect="1" noChangeArrowheads="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ltGray">
          <a:xfrm>
            <a:off x="2533703" y="2578553"/>
            <a:ext cx="2135706" cy="630143"/>
          </a:xfrm>
          <a:prstGeom prst="rect">
            <a:avLst/>
          </a:prstGeom>
          <a:extLst>
            <a:ext uri="{909E8E84-426E-40DD-AFC4-6F175D3DCCD1}">
              <a14:hiddenFill xmlns:a14="http://schemas.microsoft.com/office/drawing/2010/main">
                <a:solidFill>
                  <a:srgbClr val="FFFFFF"/>
                </a:solidFill>
              </a14:hiddenFill>
            </a:ext>
          </a:extLst>
        </p:spPr>
      </p:pic>
      <p:pic>
        <p:nvPicPr>
          <p:cNvPr id="41" name="Picture 23" descr="Coalition for Epidemic Preparedness Innovations - Wikiwand">
            <a:extLst>
              <a:ext uri="{FF2B5EF4-FFF2-40B4-BE49-F238E27FC236}">
                <a16:creationId xmlns:a16="http://schemas.microsoft.com/office/drawing/2014/main" id="{F94A8244-5EF7-4001-9115-069A28850807}"/>
              </a:ext>
            </a:extLst>
          </p:cNvPr>
          <p:cNvPicPr>
            <a:picLocks noChangeAspect="1" noChangeArrowheads="1"/>
          </p:cNvPicPr>
          <p:nvPr userDrawn="1"/>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ltGray">
          <a:xfrm>
            <a:off x="525802" y="1783462"/>
            <a:ext cx="1354280" cy="398160"/>
          </a:xfrm>
          <a:prstGeom prst="rect">
            <a:avLst/>
          </a:prstGeom>
          <a:extLst>
            <a:ext uri="{909E8E84-426E-40DD-AFC4-6F175D3DCCD1}">
              <a14:hiddenFill xmlns:a14="http://schemas.microsoft.com/office/drawing/2010/main">
                <a:solidFill>
                  <a:srgbClr val="FFFFFF"/>
                </a:solidFill>
              </a14:hiddenFill>
            </a:ext>
          </a:extLst>
        </p:spPr>
      </p:pic>
      <p:pic>
        <p:nvPicPr>
          <p:cNvPr id="42" name="Picture 19" descr="Gavi-logo - The Rockefeller Foundation">
            <a:extLst>
              <a:ext uri="{FF2B5EF4-FFF2-40B4-BE49-F238E27FC236}">
                <a16:creationId xmlns:a16="http://schemas.microsoft.com/office/drawing/2014/main" id="{FD11B72A-63E0-47FB-A675-254CBD0D8C7B}"/>
              </a:ext>
            </a:extLst>
          </p:cNvPr>
          <p:cNvPicPr>
            <a:picLocks noChangeAspect="1" noChangeArrowheads="1"/>
          </p:cNvPicPr>
          <p:nvPr userDrawn="1"/>
        </p:nvPicPr>
        <p:blipFill rotWithShape="1">
          <a:blip r:embed="rId16" cstate="print">
            <a:extLst>
              <a:ext uri="{28A0092B-C50C-407E-A947-70E740481C1C}">
                <a14:useLocalDpi xmlns:a14="http://schemas.microsoft.com/office/drawing/2010/main" val="0"/>
              </a:ext>
            </a:extLst>
          </a:blip>
          <a:srcRect l="60592" r="-945"/>
          <a:stretch/>
        </p:blipFill>
        <p:spPr bwMode="ltGray">
          <a:xfrm>
            <a:off x="1441450" y="2586861"/>
            <a:ext cx="609814" cy="566694"/>
          </a:xfrm>
          <a:prstGeom prst="rect">
            <a:avLst/>
          </a:prstGeom>
          <a:extLst>
            <a:ext uri="{909E8E84-426E-40DD-AFC4-6F175D3DCCD1}">
              <a14:hiddenFill xmlns:a14="http://schemas.microsoft.com/office/drawing/2010/main">
                <a:solidFill>
                  <a:srgbClr val="FFFFFF"/>
                </a:solidFill>
              </a14:hiddenFill>
            </a:ext>
          </a:extLst>
        </p:spPr>
      </p:pic>
      <p:sp>
        <p:nvSpPr>
          <p:cNvPr id="43" name="Documenttype">
            <a:extLst>
              <a:ext uri="{FF2B5EF4-FFF2-40B4-BE49-F238E27FC236}">
                <a16:creationId xmlns:a16="http://schemas.microsoft.com/office/drawing/2014/main" id="{3EE52C29-C02D-4128-8EC4-D7704F53266B}"/>
              </a:ext>
            </a:extLst>
          </p:cNvPr>
          <p:cNvSpPr>
            <a:spLocks noGrp="1"/>
          </p:cNvSpPr>
          <p:nvPr>
            <p:ph type="body" sz="quarter" idx="13" hasCustomPrompt="1"/>
            <p:custDataLst>
              <p:tags r:id="rId4"/>
            </p:custDataLst>
          </p:nvPr>
        </p:nvSpPr>
        <p:spPr>
          <a:xfrm>
            <a:off x="525802" y="6312004"/>
            <a:ext cx="66031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44" name="Subtitle">
            <a:extLst>
              <a:ext uri="{FF2B5EF4-FFF2-40B4-BE49-F238E27FC236}">
                <a16:creationId xmlns:a16="http://schemas.microsoft.com/office/drawing/2014/main" id="{F6D9F1C3-5681-45D6-87C2-9A221364105B}"/>
              </a:ext>
            </a:extLst>
          </p:cNvPr>
          <p:cNvSpPr>
            <a:spLocks noGrp="1"/>
          </p:cNvSpPr>
          <p:nvPr>
            <p:ph type="subTitle" idx="1"/>
            <p:custDataLst>
              <p:tags r:id="rId5"/>
            </p:custDataLst>
          </p:nvPr>
        </p:nvSpPr>
        <p:spPr>
          <a:xfrm>
            <a:off x="525802" y="5901632"/>
            <a:ext cx="66031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dirty="0"/>
              <a:t>Click to edit Master subtitle style</a:t>
            </a:r>
          </a:p>
        </p:txBody>
      </p:sp>
      <p:sp>
        <p:nvSpPr>
          <p:cNvPr id="45" name="Title">
            <a:extLst>
              <a:ext uri="{FF2B5EF4-FFF2-40B4-BE49-F238E27FC236}">
                <a16:creationId xmlns:a16="http://schemas.microsoft.com/office/drawing/2014/main" id="{B2E3D185-964C-4514-8A5D-8FCCD3C07190}"/>
              </a:ext>
            </a:extLst>
          </p:cNvPr>
          <p:cNvSpPr>
            <a:spLocks noGrp="1"/>
          </p:cNvSpPr>
          <p:nvPr>
            <p:ph type="title"/>
            <p:custDataLst>
              <p:tags r:id="rId6"/>
            </p:custDataLst>
          </p:nvPr>
        </p:nvSpPr>
        <p:spPr>
          <a:xfrm>
            <a:off x="525802" y="3952377"/>
            <a:ext cx="6603131"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defRPr>
            </a:lvl1pPr>
          </a:lstStyle>
          <a:p>
            <a:pPr lvl="0"/>
            <a:r>
              <a:rPr lang="en-US" dirty="0"/>
              <a:t>Click to edit Master title style</a:t>
            </a:r>
          </a:p>
        </p:txBody>
      </p:sp>
    </p:spTree>
    <p:extLst>
      <p:ext uri="{BB962C8B-B14F-4D97-AF65-F5344CB8AC3E}">
        <p14:creationId xmlns:p14="http://schemas.microsoft.com/office/powerpoint/2010/main" val="9681106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100526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191"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000" b="1" i="0" baseline="0" dirty="0" err="1">
              <a:solidFill>
                <a:schemeClr val="bg1"/>
              </a:solidFill>
              <a:latin typeface="Arial" panose="020B0604020202020204" pitchFamily="34" charset="0"/>
              <a:ea typeface="+mj-ea"/>
              <a:cs typeface="+mj-cs"/>
              <a:sym typeface="Arial" panose="020B0604020202020204" pitchFamily="34" charset="0"/>
            </a:endParaRPr>
          </a:p>
        </p:txBody>
      </p:sp>
      <p:grpSp>
        <p:nvGrpSpPr>
          <p:cNvPr id="14" name="Rectangle 1">
            <a:extLst>
              <a:ext uri="{FF2B5EF4-FFF2-40B4-BE49-F238E27FC236}">
                <a16:creationId xmlns:a16="http://schemas.microsoft.com/office/drawing/2014/main" id="{8463E31F-1059-439D-81D0-6D61D7EE8E0F}"/>
              </a:ext>
            </a:extLst>
          </p:cNvPr>
          <p:cNvGrpSpPr/>
          <p:nvPr userDrawn="1"/>
        </p:nvGrpSpPr>
        <p:grpSpPr bwMode="ltGray">
          <a:xfrm>
            <a:off x="0" y="0"/>
            <a:ext cx="12192000" cy="6858000"/>
            <a:chOff x="0" y="0"/>
            <a:chExt cx="12192000" cy="6858000"/>
          </a:xfrm>
        </p:grpSpPr>
        <p:sp>
          <p:nvSpPr>
            <p:cNvPr id="15" name="Rectangle 1">
              <a:extLst>
                <a:ext uri="{FF2B5EF4-FFF2-40B4-BE49-F238E27FC236}">
                  <a16:creationId xmlns:a16="http://schemas.microsoft.com/office/drawing/2014/main" id="{E12DE207-12CB-4F2F-B60B-B99BE889F95B}"/>
                </a:ext>
              </a:extLst>
            </p:cNvPr>
            <p:cNvSpPr/>
            <p:nvPr/>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sp>
          <p:nvSpPr>
            <p:cNvPr id="17" name="Freeform: Shape 16">
              <a:extLst>
                <a:ext uri="{FF2B5EF4-FFF2-40B4-BE49-F238E27FC236}">
                  <a16:creationId xmlns:a16="http://schemas.microsoft.com/office/drawing/2014/main" id="{9E3816EB-3EEB-4E3B-97BF-685C6980D507}"/>
                </a:ext>
              </a:extLst>
            </p:cNvPr>
            <p:cNvSpPr/>
            <p:nvPr/>
          </p:nvSpPr>
          <p:spPr bwMode="ltGray">
            <a:xfrm flipH="1">
              <a:off x="328939" y="0"/>
              <a:ext cx="11863054" cy="6858000"/>
            </a:xfrm>
            <a:custGeom>
              <a:avLst/>
              <a:gdLst>
                <a:gd name="connsiteX0" fmla="*/ 2186275 w 11863054"/>
                <a:gd name="connsiteY0" fmla="*/ 4880651 h 6858000"/>
                <a:gd name="connsiteX1" fmla="*/ 2466727 w 11863054"/>
                <a:gd name="connsiteY1" fmla="*/ 5366539 h 6858000"/>
                <a:gd name="connsiteX2" fmla="*/ 2186109 w 11863054"/>
                <a:gd name="connsiteY2" fmla="*/ 5852538 h 6858000"/>
                <a:gd name="connsiteX3" fmla="*/ 1624817 w 11863054"/>
                <a:gd name="connsiteY3" fmla="*/ 5852538 h 6858000"/>
                <a:gd name="connsiteX4" fmla="*/ 1344198 w 11863054"/>
                <a:gd name="connsiteY4" fmla="*/ 5366539 h 6858000"/>
                <a:gd name="connsiteX5" fmla="*/ 1624650 w 11863054"/>
                <a:gd name="connsiteY5" fmla="*/ 4880651 h 6858000"/>
                <a:gd name="connsiteX6" fmla="*/ 2185887 w 11863054"/>
                <a:gd name="connsiteY6" fmla="*/ 3891755 h 6858000"/>
                <a:gd name="connsiteX7" fmla="*/ 2466505 w 11863054"/>
                <a:gd name="connsiteY7" fmla="*/ 4377921 h 6858000"/>
                <a:gd name="connsiteX8" fmla="*/ 2186053 w 11863054"/>
                <a:gd name="connsiteY8" fmla="*/ 4863753 h 6858000"/>
                <a:gd name="connsiteX9" fmla="*/ 1624539 w 11863054"/>
                <a:gd name="connsiteY9" fmla="*/ 4863753 h 6858000"/>
                <a:gd name="connsiteX10" fmla="*/ 1343977 w 11863054"/>
                <a:gd name="connsiteY10" fmla="*/ 4377921 h 6858000"/>
                <a:gd name="connsiteX11" fmla="*/ 1624650 w 11863054"/>
                <a:gd name="connsiteY11" fmla="*/ 3891755 h 6858000"/>
                <a:gd name="connsiteX12" fmla="*/ 3898518 w 11863054"/>
                <a:gd name="connsiteY12" fmla="*/ 3891700 h 6858000"/>
                <a:gd name="connsiteX13" fmla="*/ 4179137 w 11863054"/>
                <a:gd name="connsiteY13" fmla="*/ 4377644 h 6858000"/>
                <a:gd name="connsiteX14" fmla="*/ 3898518 w 11863054"/>
                <a:gd name="connsiteY14" fmla="*/ 4863642 h 6858000"/>
                <a:gd name="connsiteX15" fmla="*/ 3337226 w 11863054"/>
                <a:gd name="connsiteY15" fmla="*/ 4863642 h 6858000"/>
                <a:gd name="connsiteX16" fmla="*/ 3056718 w 11863054"/>
                <a:gd name="connsiteY16" fmla="*/ 4377644 h 6858000"/>
                <a:gd name="connsiteX17" fmla="*/ 3337337 w 11863054"/>
                <a:gd name="connsiteY17" fmla="*/ 3891700 h 6858000"/>
                <a:gd name="connsiteX18" fmla="*/ 4755000 w 11863054"/>
                <a:gd name="connsiteY18" fmla="*/ 3397502 h 6858000"/>
                <a:gd name="connsiteX19" fmla="*/ 5035508 w 11863054"/>
                <a:gd name="connsiteY19" fmla="*/ 3883389 h 6858000"/>
                <a:gd name="connsiteX20" fmla="*/ 4754778 w 11863054"/>
                <a:gd name="connsiteY20" fmla="*/ 4369444 h 6858000"/>
                <a:gd name="connsiteX21" fmla="*/ 4193652 w 11863054"/>
                <a:gd name="connsiteY21" fmla="*/ 4369444 h 6858000"/>
                <a:gd name="connsiteX22" fmla="*/ 3912978 w 11863054"/>
                <a:gd name="connsiteY22" fmla="*/ 3883223 h 6858000"/>
                <a:gd name="connsiteX23" fmla="*/ 4193541 w 11863054"/>
                <a:gd name="connsiteY23" fmla="*/ 3397502 h 6858000"/>
                <a:gd name="connsiteX24" fmla="*/ 3042147 w 11863054"/>
                <a:gd name="connsiteY24" fmla="*/ 3397391 h 6858000"/>
                <a:gd name="connsiteX25" fmla="*/ 3322710 w 11863054"/>
                <a:gd name="connsiteY25" fmla="*/ 3883389 h 6858000"/>
                <a:gd name="connsiteX26" fmla="*/ 3042147 w 11863054"/>
                <a:gd name="connsiteY26" fmla="*/ 4369444 h 6858000"/>
                <a:gd name="connsiteX27" fmla="*/ 2480966 w 11863054"/>
                <a:gd name="connsiteY27" fmla="*/ 4369444 h 6858000"/>
                <a:gd name="connsiteX28" fmla="*/ 2200292 w 11863054"/>
                <a:gd name="connsiteY28" fmla="*/ 3883389 h 6858000"/>
                <a:gd name="connsiteX29" fmla="*/ 2480911 w 11863054"/>
                <a:gd name="connsiteY29" fmla="*/ 3397391 h 6858000"/>
                <a:gd name="connsiteX30" fmla="*/ 3898186 w 11863054"/>
                <a:gd name="connsiteY30" fmla="*/ 2902970 h 6858000"/>
                <a:gd name="connsiteX31" fmla="*/ 4178860 w 11863054"/>
                <a:gd name="connsiteY31" fmla="*/ 3389136 h 6858000"/>
                <a:gd name="connsiteX32" fmla="*/ 3898463 w 11863054"/>
                <a:gd name="connsiteY32" fmla="*/ 3874857 h 6858000"/>
                <a:gd name="connsiteX33" fmla="*/ 3337115 w 11863054"/>
                <a:gd name="connsiteY33" fmla="*/ 3874857 h 6858000"/>
                <a:gd name="connsiteX34" fmla="*/ 3056607 w 11863054"/>
                <a:gd name="connsiteY34" fmla="*/ 3388969 h 6858000"/>
                <a:gd name="connsiteX35" fmla="*/ 3337115 w 11863054"/>
                <a:gd name="connsiteY35" fmla="*/ 2902970 h 6858000"/>
                <a:gd name="connsiteX36" fmla="*/ 5611205 w 11863054"/>
                <a:gd name="connsiteY36" fmla="*/ 2902915 h 6858000"/>
                <a:gd name="connsiteX37" fmla="*/ 5891712 w 11863054"/>
                <a:gd name="connsiteY37" fmla="*/ 3388748 h 6858000"/>
                <a:gd name="connsiteX38" fmla="*/ 5611149 w 11863054"/>
                <a:gd name="connsiteY38" fmla="*/ 3874857 h 6858000"/>
                <a:gd name="connsiteX39" fmla="*/ 5049857 w 11863054"/>
                <a:gd name="connsiteY39" fmla="*/ 3874857 h 6858000"/>
                <a:gd name="connsiteX40" fmla="*/ 4769239 w 11863054"/>
                <a:gd name="connsiteY40" fmla="*/ 3388969 h 6858000"/>
                <a:gd name="connsiteX41" fmla="*/ 5049857 w 11863054"/>
                <a:gd name="connsiteY41" fmla="*/ 2902915 h 6858000"/>
                <a:gd name="connsiteX42" fmla="*/ 1329350 w 11863054"/>
                <a:gd name="connsiteY42" fmla="*/ 2409215 h 6858000"/>
                <a:gd name="connsiteX43" fmla="*/ 1609968 w 11863054"/>
                <a:gd name="connsiteY43" fmla="*/ 2895269 h 6858000"/>
                <a:gd name="connsiteX44" fmla="*/ 1329350 w 11863054"/>
                <a:gd name="connsiteY44" fmla="*/ 3381379 h 6858000"/>
                <a:gd name="connsiteX45" fmla="*/ 768224 w 11863054"/>
                <a:gd name="connsiteY45" fmla="*/ 3381379 h 6858000"/>
                <a:gd name="connsiteX46" fmla="*/ 487716 w 11863054"/>
                <a:gd name="connsiteY46" fmla="*/ 2895546 h 6858000"/>
                <a:gd name="connsiteX47" fmla="*/ 768501 w 11863054"/>
                <a:gd name="connsiteY47" fmla="*/ 2409215 h 6858000"/>
                <a:gd name="connsiteX48" fmla="*/ 3041981 w 11863054"/>
                <a:gd name="connsiteY48" fmla="*/ 2408883 h 6858000"/>
                <a:gd name="connsiteX49" fmla="*/ 3322599 w 11863054"/>
                <a:gd name="connsiteY49" fmla="*/ 2894826 h 6858000"/>
                <a:gd name="connsiteX50" fmla="*/ 3042092 w 11863054"/>
                <a:gd name="connsiteY50" fmla="*/ 3380714 h 6858000"/>
                <a:gd name="connsiteX51" fmla="*/ 2480855 w 11863054"/>
                <a:gd name="connsiteY51" fmla="*/ 3380714 h 6858000"/>
                <a:gd name="connsiteX52" fmla="*/ 2200126 w 11863054"/>
                <a:gd name="connsiteY52" fmla="*/ 2894715 h 6858000"/>
                <a:gd name="connsiteX53" fmla="*/ 2480689 w 11863054"/>
                <a:gd name="connsiteY53" fmla="*/ 2408883 h 6858000"/>
                <a:gd name="connsiteX54" fmla="*/ 4754612 w 11863054"/>
                <a:gd name="connsiteY54" fmla="*/ 2408827 h 6858000"/>
                <a:gd name="connsiteX55" fmla="*/ 5035231 w 11863054"/>
                <a:gd name="connsiteY55" fmla="*/ 2894715 h 6858000"/>
                <a:gd name="connsiteX56" fmla="*/ 4754612 w 11863054"/>
                <a:gd name="connsiteY56" fmla="*/ 3380714 h 6858000"/>
                <a:gd name="connsiteX57" fmla="*/ 4193375 w 11863054"/>
                <a:gd name="connsiteY57" fmla="*/ 3380714 h 6858000"/>
                <a:gd name="connsiteX58" fmla="*/ 3912757 w 11863054"/>
                <a:gd name="connsiteY58" fmla="*/ 2894715 h 6858000"/>
                <a:gd name="connsiteX59" fmla="*/ 4193320 w 11863054"/>
                <a:gd name="connsiteY59" fmla="*/ 2408827 h 6858000"/>
                <a:gd name="connsiteX60" fmla="*/ 6467576 w 11863054"/>
                <a:gd name="connsiteY60" fmla="*/ 2408384 h 6858000"/>
                <a:gd name="connsiteX61" fmla="*/ 6748083 w 11863054"/>
                <a:gd name="connsiteY61" fmla="*/ 2894217 h 6858000"/>
                <a:gd name="connsiteX62" fmla="*/ 6467409 w 11863054"/>
                <a:gd name="connsiteY62" fmla="*/ 3380326 h 6858000"/>
                <a:gd name="connsiteX63" fmla="*/ 5906173 w 11863054"/>
                <a:gd name="connsiteY63" fmla="*/ 3380326 h 6858000"/>
                <a:gd name="connsiteX64" fmla="*/ 5625554 w 11863054"/>
                <a:gd name="connsiteY64" fmla="*/ 2894272 h 6858000"/>
                <a:gd name="connsiteX65" fmla="*/ 5906006 w 11863054"/>
                <a:gd name="connsiteY65" fmla="*/ 2408384 h 6858000"/>
                <a:gd name="connsiteX66" fmla="*/ 2185610 w 11863054"/>
                <a:gd name="connsiteY66" fmla="*/ 1914628 h 6858000"/>
                <a:gd name="connsiteX67" fmla="*/ 2466229 w 11863054"/>
                <a:gd name="connsiteY67" fmla="*/ 2400572 h 6858000"/>
                <a:gd name="connsiteX68" fmla="*/ 2423402 w 11863054"/>
                <a:gd name="connsiteY68" fmla="*/ 2474702 h 6858000"/>
                <a:gd name="connsiteX69" fmla="*/ 2185555 w 11863054"/>
                <a:gd name="connsiteY69" fmla="*/ 2886737 h 6858000"/>
                <a:gd name="connsiteX70" fmla="*/ 1624318 w 11863054"/>
                <a:gd name="connsiteY70" fmla="*/ 2886737 h 6858000"/>
                <a:gd name="connsiteX71" fmla="*/ 1344087 w 11863054"/>
                <a:gd name="connsiteY71" fmla="*/ 2401292 h 6858000"/>
                <a:gd name="connsiteX72" fmla="*/ 1625093 w 11863054"/>
                <a:gd name="connsiteY72" fmla="*/ 1914628 h 6858000"/>
                <a:gd name="connsiteX73" fmla="*/ 3898186 w 11863054"/>
                <a:gd name="connsiteY73" fmla="*/ 1914462 h 6858000"/>
                <a:gd name="connsiteX74" fmla="*/ 4178804 w 11863054"/>
                <a:gd name="connsiteY74" fmla="*/ 2400461 h 6858000"/>
                <a:gd name="connsiteX75" fmla="*/ 3898241 w 11863054"/>
                <a:gd name="connsiteY75" fmla="*/ 2886349 h 6858000"/>
                <a:gd name="connsiteX76" fmla="*/ 3337115 w 11863054"/>
                <a:gd name="connsiteY76" fmla="*/ 2886349 h 6858000"/>
                <a:gd name="connsiteX77" fmla="*/ 3056441 w 11863054"/>
                <a:gd name="connsiteY77" fmla="*/ 2400295 h 6858000"/>
                <a:gd name="connsiteX78" fmla="*/ 3336949 w 11863054"/>
                <a:gd name="connsiteY78" fmla="*/ 1914462 h 6858000"/>
                <a:gd name="connsiteX79" fmla="*/ 5610872 w 11863054"/>
                <a:gd name="connsiteY79" fmla="*/ 1914185 h 6858000"/>
                <a:gd name="connsiteX80" fmla="*/ 5891491 w 11863054"/>
                <a:gd name="connsiteY80" fmla="*/ 2400240 h 6858000"/>
                <a:gd name="connsiteX81" fmla="*/ 5610983 w 11863054"/>
                <a:gd name="connsiteY81" fmla="*/ 2886072 h 6858000"/>
                <a:gd name="connsiteX82" fmla="*/ 5049469 w 11863054"/>
                <a:gd name="connsiteY82" fmla="*/ 2886072 h 6858000"/>
                <a:gd name="connsiteX83" fmla="*/ 4768962 w 11863054"/>
                <a:gd name="connsiteY83" fmla="*/ 2400295 h 6858000"/>
                <a:gd name="connsiteX84" fmla="*/ 5049635 w 11863054"/>
                <a:gd name="connsiteY84" fmla="*/ 1914185 h 6858000"/>
                <a:gd name="connsiteX85" fmla="*/ 7323669 w 11863054"/>
                <a:gd name="connsiteY85" fmla="*/ 1913853 h 6858000"/>
                <a:gd name="connsiteX86" fmla="*/ 7604232 w 11863054"/>
                <a:gd name="connsiteY86" fmla="*/ 2399852 h 6858000"/>
                <a:gd name="connsiteX87" fmla="*/ 7323669 w 11863054"/>
                <a:gd name="connsiteY87" fmla="*/ 2885740 h 6858000"/>
                <a:gd name="connsiteX88" fmla="*/ 6762377 w 11863054"/>
                <a:gd name="connsiteY88" fmla="*/ 2885740 h 6858000"/>
                <a:gd name="connsiteX89" fmla="*/ 6481870 w 11863054"/>
                <a:gd name="connsiteY89" fmla="*/ 2399741 h 6858000"/>
                <a:gd name="connsiteX90" fmla="*/ 6762322 w 11863054"/>
                <a:gd name="connsiteY90" fmla="*/ 1913853 h 6858000"/>
                <a:gd name="connsiteX91" fmla="*/ 1330015 w 11863054"/>
                <a:gd name="connsiteY91" fmla="*/ 1420652 h 6858000"/>
                <a:gd name="connsiteX92" fmla="*/ 1610135 w 11863054"/>
                <a:gd name="connsiteY92" fmla="*/ 1905930 h 6858000"/>
                <a:gd name="connsiteX93" fmla="*/ 1329073 w 11863054"/>
                <a:gd name="connsiteY93" fmla="*/ 2392594 h 6858000"/>
                <a:gd name="connsiteX94" fmla="*/ 768723 w 11863054"/>
                <a:gd name="connsiteY94" fmla="*/ 2392594 h 6858000"/>
                <a:gd name="connsiteX95" fmla="*/ 487993 w 11863054"/>
                <a:gd name="connsiteY95" fmla="*/ 1906429 h 6858000"/>
                <a:gd name="connsiteX96" fmla="*/ 768446 w 11863054"/>
                <a:gd name="connsiteY96" fmla="*/ 1420652 h 6858000"/>
                <a:gd name="connsiteX97" fmla="*/ 4754612 w 11863054"/>
                <a:gd name="connsiteY97" fmla="*/ 1420208 h 6858000"/>
                <a:gd name="connsiteX98" fmla="*/ 5035175 w 11863054"/>
                <a:gd name="connsiteY98" fmla="*/ 1906096 h 6858000"/>
                <a:gd name="connsiteX99" fmla="*/ 4754391 w 11863054"/>
                <a:gd name="connsiteY99" fmla="*/ 2392151 h 6858000"/>
                <a:gd name="connsiteX100" fmla="*/ 4193375 w 11863054"/>
                <a:gd name="connsiteY100" fmla="*/ 2392151 h 6858000"/>
                <a:gd name="connsiteX101" fmla="*/ 3912646 w 11863054"/>
                <a:gd name="connsiteY101" fmla="*/ 1905986 h 6858000"/>
                <a:gd name="connsiteX102" fmla="*/ 4193098 w 11863054"/>
                <a:gd name="connsiteY102" fmla="*/ 1420208 h 6858000"/>
                <a:gd name="connsiteX103" fmla="*/ 3041704 w 11863054"/>
                <a:gd name="connsiteY103" fmla="*/ 1420097 h 6858000"/>
                <a:gd name="connsiteX104" fmla="*/ 3322322 w 11863054"/>
                <a:gd name="connsiteY104" fmla="*/ 1906207 h 6858000"/>
                <a:gd name="connsiteX105" fmla="*/ 3041925 w 11863054"/>
                <a:gd name="connsiteY105" fmla="*/ 2391985 h 6858000"/>
                <a:gd name="connsiteX106" fmla="*/ 2480523 w 11863054"/>
                <a:gd name="connsiteY106" fmla="*/ 2391985 h 6858000"/>
                <a:gd name="connsiteX107" fmla="*/ 2200347 w 11863054"/>
                <a:gd name="connsiteY107" fmla="*/ 1906706 h 6858000"/>
                <a:gd name="connsiteX108" fmla="*/ 2481187 w 11863054"/>
                <a:gd name="connsiteY108" fmla="*/ 1420097 h 6858000"/>
                <a:gd name="connsiteX109" fmla="*/ 6467243 w 11863054"/>
                <a:gd name="connsiteY109" fmla="*/ 1419654 h 6858000"/>
                <a:gd name="connsiteX110" fmla="*/ 6747862 w 11863054"/>
                <a:gd name="connsiteY110" fmla="*/ 1905597 h 6858000"/>
                <a:gd name="connsiteX111" fmla="*/ 6467409 w 11863054"/>
                <a:gd name="connsiteY111" fmla="*/ 2391486 h 6858000"/>
                <a:gd name="connsiteX112" fmla="*/ 5905785 w 11863054"/>
                <a:gd name="connsiteY112" fmla="*/ 2391486 h 6858000"/>
                <a:gd name="connsiteX113" fmla="*/ 5625333 w 11863054"/>
                <a:gd name="connsiteY113" fmla="*/ 1905708 h 6858000"/>
                <a:gd name="connsiteX114" fmla="*/ 5735696 w 11863054"/>
                <a:gd name="connsiteY114" fmla="*/ 1714456 h 6858000"/>
                <a:gd name="connsiteX115" fmla="*/ 5905950 w 11863054"/>
                <a:gd name="connsiteY115" fmla="*/ 1419654 h 6858000"/>
                <a:gd name="connsiteX116" fmla="*/ 8180151 w 11863054"/>
                <a:gd name="connsiteY116" fmla="*/ 1419654 h 6858000"/>
                <a:gd name="connsiteX117" fmla="*/ 8460603 w 11863054"/>
                <a:gd name="connsiteY117" fmla="*/ 1905487 h 6858000"/>
                <a:gd name="connsiteX118" fmla="*/ 8179984 w 11863054"/>
                <a:gd name="connsiteY118" fmla="*/ 2391652 h 6858000"/>
                <a:gd name="connsiteX119" fmla="*/ 7618914 w 11863054"/>
                <a:gd name="connsiteY119" fmla="*/ 2391652 h 6858000"/>
                <a:gd name="connsiteX120" fmla="*/ 7338130 w 11863054"/>
                <a:gd name="connsiteY120" fmla="*/ 1905432 h 6858000"/>
                <a:gd name="connsiteX121" fmla="*/ 7618582 w 11863054"/>
                <a:gd name="connsiteY121" fmla="*/ 1419654 h 6858000"/>
                <a:gd name="connsiteX122" fmla="*/ 2186164 w 11863054"/>
                <a:gd name="connsiteY122" fmla="*/ 926120 h 6858000"/>
                <a:gd name="connsiteX123" fmla="*/ 2466395 w 11863054"/>
                <a:gd name="connsiteY123" fmla="*/ 1411344 h 6858000"/>
                <a:gd name="connsiteX124" fmla="*/ 2185555 w 11863054"/>
                <a:gd name="connsiteY124" fmla="*/ 1897952 h 6858000"/>
                <a:gd name="connsiteX125" fmla="*/ 1624817 w 11863054"/>
                <a:gd name="connsiteY125" fmla="*/ 1897952 h 6858000"/>
                <a:gd name="connsiteX126" fmla="*/ 1344253 w 11863054"/>
                <a:gd name="connsiteY126" fmla="*/ 1412064 h 6858000"/>
                <a:gd name="connsiteX127" fmla="*/ 1624817 w 11863054"/>
                <a:gd name="connsiteY127" fmla="*/ 926120 h 6858000"/>
                <a:gd name="connsiteX128" fmla="*/ 3897853 w 11863054"/>
                <a:gd name="connsiteY128" fmla="*/ 925677 h 6858000"/>
                <a:gd name="connsiteX129" fmla="*/ 4178583 w 11863054"/>
                <a:gd name="connsiteY129" fmla="*/ 1411842 h 6858000"/>
                <a:gd name="connsiteX130" fmla="*/ 3898186 w 11863054"/>
                <a:gd name="connsiteY130" fmla="*/ 1897620 h 6858000"/>
                <a:gd name="connsiteX131" fmla="*/ 3336838 w 11863054"/>
                <a:gd name="connsiteY131" fmla="*/ 1897620 h 6858000"/>
                <a:gd name="connsiteX132" fmla="*/ 3056607 w 11863054"/>
                <a:gd name="connsiteY132" fmla="*/ 1412174 h 6858000"/>
                <a:gd name="connsiteX133" fmla="*/ 3337503 w 11863054"/>
                <a:gd name="connsiteY133" fmla="*/ 925677 h 6858000"/>
                <a:gd name="connsiteX134" fmla="*/ 5610872 w 11863054"/>
                <a:gd name="connsiteY134" fmla="*/ 925622 h 6858000"/>
                <a:gd name="connsiteX135" fmla="*/ 5891380 w 11863054"/>
                <a:gd name="connsiteY135" fmla="*/ 1411455 h 6858000"/>
                <a:gd name="connsiteX136" fmla="*/ 5710376 w 11863054"/>
                <a:gd name="connsiteY136" fmla="*/ 1725093 h 6858000"/>
                <a:gd name="connsiteX137" fmla="*/ 5610761 w 11863054"/>
                <a:gd name="connsiteY137" fmla="*/ 1897453 h 6858000"/>
                <a:gd name="connsiteX138" fmla="*/ 5049414 w 11863054"/>
                <a:gd name="connsiteY138" fmla="*/ 1897453 h 6858000"/>
                <a:gd name="connsiteX139" fmla="*/ 4768851 w 11863054"/>
                <a:gd name="connsiteY139" fmla="*/ 1411565 h 6858000"/>
                <a:gd name="connsiteX140" fmla="*/ 5049469 w 11863054"/>
                <a:gd name="connsiteY140" fmla="*/ 925622 h 6858000"/>
                <a:gd name="connsiteX141" fmla="*/ 7323392 w 11863054"/>
                <a:gd name="connsiteY141" fmla="*/ 925123 h 6858000"/>
                <a:gd name="connsiteX142" fmla="*/ 7604121 w 11863054"/>
                <a:gd name="connsiteY142" fmla="*/ 1411344 h 6858000"/>
                <a:gd name="connsiteX143" fmla="*/ 7323558 w 11863054"/>
                <a:gd name="connsiteY143" fmla="*/ 1896955 h 6858000"/>
                <a:gd name="connsiteX144" fmla="*/ 6762100 w 11863054"/>
                <a:gd name="connsiteY144" fmla="*/ 1896955 h 6858000"/>
                <a:gd name="connsiteX145" fmla="*/ 6481537 w 11863054"/>
                <a:gd name="connsiteY145" fmla="*/ 1411178 h 6858000"/>
                <a:gd name="connsiteX146" fmla="*/ 6591069 w 11863054"/>
                <a:gd name="connsiteY146" fmla="*/ 1221532 h 6858000"/>
                <a:gd name="connsiteX147" fmla="*/ 6762266 w 11863054"/>
                <a:gd name="connsiteY147" fmla="*/ 925123 h 6858000"/>
                <a:gd name="connsiteX148" fmla="*/ 9036411 w 11863054"/>
                <a:gd name="connsiteY148" fmla="*/ 925068 h 6858000"/>
                <a:gd name="connsiteX149" fmla="*/ 9316919 w 11863054"/>
                <a:gd name="connsiteY149" fmla="*/ 1410955 h 6858000"/>
                <a:gd name="connsiteX150" fmla="*/ 9036245 w 11863054"/>
                <a:gd name="connsiteY150" fmla="*/ 1896955 h 6858000"/>
                <a:gd name="connsiteX151" fmla="*/ 8475008 w 11863054"/>
                <a:gd name="connsiteY151" fmla="*/ 1896955 h 6858000"/>
                <a:gd name="connsiteX152" fmla="*/ 8194389 w 11863054"/>
                <a:gd name="connsiteY152" fmla="*/ 1411066 h 6858000"/>
                <a:gd name="connsiteX153" fmla="*/ 8475008 w 11863054"/>
                <a:gd name="connsiteY153" fmla="*/ 925068 h 6858000"/>
                <a:gd name="connsiteX154" fmla="*/ 1329738 w 11863054"/>
                <a:gd name="connsiteY154" fmla="*/ 432032 h 6858000"/>
                <a:gd name="connsiteX155" fmla="*/ 1610245 w 11863054"/>
                <a:gd name="connsiteY155" fmla="*/ 917810 h 6858000"/>
                <a:gd name="connsiteX156" fmla="*/ 1329627 w 11863054"/>
                <a:gd name="connsiteY156" fmla="*/ 1403864 h 6858000"/>
                <a:gd name="connsiteX157" fmla="*/ 768446 w 11863054"/>
                <a:gd name="connsiteY157" fmla="*/ 1403864 h 6858000"/>
                <a:gd name="connsiteX158" fmla="*/ 487827 w 11863054"/>
                <a:gd name="connsiteY158" fmla="*/ 917810 h 6858000"/>
                <a:gd name="connsiteX159" fmla="*/ 768335 w 11863054"/>
                <a:gd name="connsiteY159" fmla="*/ 432032 h 6858000"/>
                <a:gd name="connsiteX160" fmla="*/ 3042369 w 11863054"/>
                <a:gd name="connsiteY160" fmla="*/ 431534 h 6858000"/>
                <a:gd name="connsiteX161" fmla="*/ 3322599 w 11863054"/>
                <a:gd name="connsiteY161" fmla="*/ 916979 h 6858000"/>
                <a:gd name="connsiteX162" fmla="*/ 3041704 w 11863054"/>
                <a:gd name="connsiteY162" fmla="*/ 1403366 h 6858000"/>
                <a:gd name="connsiteX163" fmla="*/ 2481187 w 11863054"/>
                <a:gd name="connsiteY163" fmla="*/ 1403366 h 6858000"/>
                <a:gd name="connsiteX164" fmla="*/ 2200569 w 11863054"/>
                <a:gd name="connsiteY164" fmla="*/ 917422 h 6858000"/>
                <a:gd name="connsiteX165" fmla="*/ 2481021 w 11863054"/>
                <a:gd name="connsiteY165" fmla="*/ 431534 h 6858000"/>
                <a:gd name="connsiteX166" fmla="*/ 4754335 w 11863054"/>
                <a:gd name="connsiteY166" fmla="*/ 431534 h 6858000"/>
                <a:gd name="connsiteX167" fmla="*/ 5034898 w 11863054"/>
                <a:gd name="connsiteY167" fmla="*/ 917477 h 6858000"/>
                <a:gd name="connsiteX168" fmla="*/ 4754169 w 11863054"/>
                <a:gd name="connsiteY168" fmla="*/ 1403366 h 6858000"/>
                <a:gd name="connsiteX169" fmla="*/ 4193043 w 11863054"/>
                <a:gd name="connsiteY169" fmla="*/ 1403366 h 6858000"/>
                <a:gd name="connsiteX170" fmla="*/ 3912701 w 11863054"/>
                <a:gd name="connsiteY170" fmla="*/ 917810 h 6858000"/>
                <a:gd name="connsiteX171" fmla="*/ 4193541 w 11863054"/>
                <a:gd name="connsiteY171" fmla="*/ 431534 h 6858000"/>
                <a:gd name="connsiteX172" fmla="*/ 6467243 w 11863054"/>
                <a:gd name="connsiteY172" fmla="*/ 431090 h 6858000"/>
                <a:gd name="connsiteX173" fmla="*/ 6747695 w 11863054"/>
                <a:gd name="connsiteY173" fmla="*/ 916979 h 6858000"/>
                <a:gd name="connsiteX174" fmla="*/ 6693400 w 11863054"/>
                <a:gd name="connsiteY174" fmla="*/ 1011054 h 6858000"/>
                <a:gd name="connsiteX175" fmla="*/ 6467077 w 11863054"/>
                <a:gd name="connsiteY175" fmla="*/ 1403033 h 6858000"/>
                <a:gd name="connsiteX176" fmla="*/ 5905729 w 11863054"/>
                <a:gd name="connsiteY176" fmla="*/ 1403033 h 6858000"/>
                <a:gd name="connsiteX177" fmla="*/ 5625166 w 11863054"/>
                <a:gd name="connsiteY177" fmla="*/ 916979 h 6858000"/>
                <a:gd name="connsiteX178" fmla="*/ 5905674 w 11863054"/>
                <a:gd name="connsiteY178" fmla="*/ 431090 h 6858000"/>
                <a:gd name="connsiteX179" fmla="*/ 8179874 w 11863054"/>
                <a:gd name="connsiteY179" fmla="*/ 431035 h 6858000"/>
                <a:gd name="connsiteX180" fmla="*/ 8460326 w 11863054"/>
                <a:gd name="connsiteY180" fmla="*/ 916812 h 6858000"/>
                <a:gd name="connsiteX181" fmla="*/ 8179818 w 11863054"/>
                <a:gd name="connsiteY181" fmla="*/ 1402867 h 6858000"/>
                <a:gd name="connsiteX182" fmla="*/ 7618582 w 11863054"/>
                <a:gd name="connsiteY182" fmla="*/ 1402867 h 6858000"/>
                <a:gd name="connsiteX183" fmla="*/ 7337963 w 11863054"/>
                <a:gd name="connsiteY183" fmla="*/ 916812 h 6858000"/>
                <a:gd name="connsiteX184" fmla="*/ 7618471 w 11863054"/>
                <a:gd name="connsiteY184" fmla="*/ 431035 h 6858000"/>
                <a:gd name="connsiteX185" fmla="*/ 9892505 w 11863054"/>
                <a:gd name="connsiteY185" fmla="*/ 430592 h 6858000"/>
                <a:gd name="connsiteX186" fmla="*/ 10173123 w 11863054"/>
                <a:gd name="connsiteY186" fmla="*/ 916536 h 6858000"/>
                <a:gd name="connsiteX187" fmla="*/ 9892560 w 11863054"/>
                <a:gd name="connsiteY187" fmla="*/ 1402534 h 6858000"/>
                <a:gd name="connsiteX188" fmla="*/ 9331323 w 11863054"/>
                <a:gd name="connsiteY188" fmla="*/ 1402534 h 6858000"/>
                <a:gd name="connsiteX189" fmla="*/ 9050650 w 11863054"/>
                <a:gd name="connsiteY189" fmla="*/ 916424 h 6858000"/>
                <a:gd name="connsiteX190" fmla="*/ 9331157 w 11863054"/>
                <a:gd name="connsiteY190" fmla="*/ 430592 h 6858000"/>
                <a:gd name="connsiteX191" fmla="*/ 11863054 w 11863054"/>
                <a:gd name="connsiteY191" fmla="*/ 0 h 6858000"/>
                <a:gd name="connsiteX192" fmla="*/ 11843939 w 11863054"/>
                <a:gd name="connsiteY192" fmla="*/ 0 h 6858000"/>
                <a:gd name="connsiteX193" fmla="*/ 11604970 w 11863054"/>
                <a:gd name="connsiteY193" fmla="*/ 413916 h 6858000"/>
                <a:gd name="connsiteX194" fmla="*/ 11043788 w 11863054"/>
                <a:gd name="connsiteY194" fmla="*/ 413916 h 6858000"/>
                <a:gd name="connsiteX195" fmla="*/ 10804853 w 11863054"/>
                <a:gd name="connsiteY195" fmla="*/ 0 h 6858000"/>
                <a:gd name="connsiteX196" fmla="*/ 10785529 w 11863054"/>
                <a:gd name="connsiteY196" fmla="*/ 0 h 6858000"/>
                <a:gd name="connsiteX197" fmla="*/ 11029217 w 11863054"/>
                <a:gd name="connsiteY197" fmla="*/ 422170 h 6858000"/>
                <a:gd name="connsiteX198" fmla="*/ 10748654 w 11863054"/>
                <a:gd name="connsiteY198" fmla="*/ 908114 h 6858000"/>
                <a:gd name="connsiteX199" fmla="*/ 10187639 w 11863054"/>
                <a:gd name="connsiteY199" fmla="*/ 908114 h 6858000"/>
                <a:gd name="connsiteX200" fmla="*/ 9906965 w 11863054"/>
                <a:gd name="connsiteY200" fmla="*/ 421949 h 6858000"/>
                <a:gd name="connsiteX201" fmla="*/ 10150539 w 11863054"/>
                <a:gd name="connsiteY201" fmla="*/ 0 h 6858000"/>
                <a:gd name="connsiteX202" fmla="*/ 10131190 w 11863054"/>
                <a:gd name="connsiteY202" fmla="*/ 0 h 6858000"/>
                <a:gd name="connsiteX203" fmla="*/ 9892339 w 11863054"/>
                <a:gd name="connsiteY203" fmla="*/ 413638 h 6858000"/>
                <a:gd name="connsiteX204" fmla="*/ 9330991 w 11863054"/>
                <a:gd name="connsiteY204" fmla="*/ 413638 h 6858000"/>
                <a:gd name="connsiteX205" fmla="*/ 9092139 w 11863054"/>
                <a:gd name="connsiteY205" fmla="*/ 0 h 6858000"/>
                <a:gd name="connsiteX206" fmla="*/ 9072826 w 11863054"/>
                <a:gd name="connsiteY206" fmla="*/ 0 h 6858000"/>
                <a:gd name="connsiteX207" fmla="*/ 9316642 w 11863054"/>
                <a:gd name="connsiteY207" fmla="*/ 422392 h 6858000"/>
                <a:gd name="connsiteX208" fmla="*/ 9036189 w 11863054"/>
                <a:gd name="connsiteY208" fmla="*/ 908170 h 6858000"/>
                <a:gd name="connsiteX209" fmla="*/ 8474731 w 11863054"/>
                <a:gd name="connsiteY209" fmla="*/ 908170 h 6858000"/>
                <a:gd name="connsiteX210" fmla="*/ 8194168 w 11863054"/>
                <a:gd name="connsiteY210" fmla="*/ 422503 h 6858000"/>
                <a:gd name="connsiteX211" fmla="*/ 8438136 w 11863054"/>
                <a:gd name="connsiteY211" fmla="*/ 0 h 6858000"/>
                <a:gd name="connsiteX212" fmla="*/ 8418811 w 11863054"/>
                <a:gd name="connsiteY212" fmla="*/ 0 h 6858000"/>
                <a:gd name="connsiteX213" fmla="*/ 8179597 w 11863054"/>
                <a:gd name="connsiteY213" fmla="*/ 414303 h 6858000"/>
                <a:gd name="connsiteX214" fmla="*/ 7618582 w 11863054"/>
                <a:gd name="connsiteY214" fmla="*/ 414303 h 6858000"/>
                <a:gd name="connsiteX215" fmla="*/ 7379274 w 11863054"/>
                <a:gd name="connsiteY215" fmla="*/ 0 h 6858000"/>
                <a:gd name="connsiteX216" fmla="*/ 7359940 w 11863054"/>
                <a:gd name="connsiteY216" fmla="*/ 0 h 6858000"/>
                <a:gd name="connsiteX217" fmla="*/ 7603955 w 11863054"/>
                <a:gd name="connsiteY217" fmla="*/ 422558 h 6858000"/>
                <a:gd name="connsiteX218" fmla="*/ 7323337 w 11863054"/>
                <a:gd name="connsiteY218" fmla="*/ 908447 h 6858000"/>
                <a:gd name="connsiteX219" fmla="*/ 6762100 w 11863054"/>
                <a:gd name="connsiteY219" fmla="*/ 908447 h 6858000"/>
                <a:gd name="connsiteX220" fmla="*/ 6481482 w 11863054"/>
                <a:gd name="connsiteY220" fmla="*/ 422503 h 6858000"/>
                <a:gd name="connsiteX221" fmla="*/ 6725445 w 11863054"/>
                <a:gd name="connsiteY221" fmla="*/ 0 h 6858000"/>
                <a:gd name="connsiteX222" fmla="*/ 6706132 w 11863054"/>
                <a:gd name="connsiteY222" fmla="*/ 0 h 6858000"/>
                <a:gd name="connsiteX223" fmla="*/ 6466910 w 11863054"/>
                <a:gd name="connsiteY223" fmla="*/ 414303 h 6858000"/>
                <a:gd name="connsiteX224" fmla="*/ 5905508 w 11863054"/>
                <a:gd name="connsiteY224" fmla="*/ 414303 h 6858000"/>
                <a:gd name="connsiteX225" fmla="*/ 5666338 w 11863054"/>
                <a:gd name="connsiteY225" fmla="*/ 0 h 6858000"/>
                <a:gd name="connsiteX226" fmla="*/ 5646974 w 11863054"/>
                <a:gd name="connsiteY226" fmla="*/ 0 h 6858000"/>
                <a:gd name="connsiteX227" fmla="*/ 5891214 w 11863054"/>
                <a:gd name="connsiteY227" fmla="*/ 422946 h 6858000"/>
                <a:gd name="connsiteX228" fmla="*/ 5618463 w 11863054"/>
                <a:gd name="connsiteY228" fmla="*/ 895261 h 6858000"/>
                <a:gd name="connsiteX229" fmla="*/ 5610706 w 11863054"/>
                <a:gd name="connsiteY229" fmla="*/ 908835 h 6858000"/>
                <a:gd name="connsiteX230" fmla="*/ 5049192 w 11863054"/>
                <a:gd name="connsiteY230" fmla="*/ 908835 h 6858000"/>
                <a:gd name="connsiteX231" fmla="*/ 4769017 w 11863054"/>
                <a:gd name="connsiteY231" fmla="*/ 423556 h 6858000"/>
                <a:gd name="connsiteX232" fmla="*/ 5013591 w 11863054"/>
                <a:gd name="connsiteY232" fmla="*/ 0 h 6858000"/>
                <a:gd name="connsiteX233" fmla="*/ 4993649 w 11863054"/>
                <a:gd name="connsiteY233" fmla="*/ 0 h 6858000"/>
                <a:gd name="connsiteX234" fmla="*/ 4754058 w 11863054"/>
                <a:gd name="connsiteY234" fmla="*/ 414857 h 6858000"/>
                <a:gd name="connsiteX235" fmla="*/ 4193652 w 11863054"/>
                <a:gd name="connsiteY235" fmla="*/ 414857 h 6858000"/>
                <a:gd name="connsiteX236" fmla="*/ 3954146 w 11863054"/>
                <a:gd name="connsiteY236" fmla="*/ 0 h 6858000"/>
                <a:gd name="connsiteX237" fmla="*/ 3934827 w 11863054"/>
                <a:gd name="connsiteY237" fmla="*/ 0 h 6858000"/>
                <a:gd name="connsiteX238" fmla="*/ 4178860 w 11863054"/>
                <a:gd name="connsiteY238" fmla="*/ 422669 h 6858000"/>
                <a:gd name="connsiteX239" fmla="*/ 3898186 w 11863054"/>
                <a:gd name="connsiteY239" fmla="*/ 909056 h 6858000"/>
                <a:gd name="connsiteX240" fmla="*/ 3337503 w 11863054"/>
                <a:gd name="connsiteY240" fmla="*/ 909056 h 6858000"/>
                <a:gd name="connsiteX241" fmla="*/ 3056829 w 11863054"/>
                <a:gd name="connsiteY241" fmla="*/ 422946 h 6858000"/>
                <a:gd name="connsiteX242" fmla="*/ 3300979 w 11863054"/>
                <a:gd name="connsiteY242" fmla="*/ 0 h 6858000"/>
                <a:gd name="connsiteX243" fmla="*/ 3281513 w 11863054"/>
                <a:gd name="connsiteY243" fmla="*/ 0 h 6858000"/>
                <a:gd name="connsiteX244" fmla="*/ 3042203 w 11863054"/>
                <a:gd name="connsiteY244" fmla="*/ 414691 h 6858000"/>
                <a:gd name="connsiteX245" fmla="*/ 2480855 w 11863054"/>
                <a:gd name="connsiteY245" fmla="*/ 414691 h 6858000"/>
                <a:gd name="connsiteX246" fmla="*/ 2241403 w 11863054"/>
                <a:gd name="connsiteY246" fmla="*/ 0 h 6858000"/>
                <a:gd name="connsiteX247" fmla="*/ 2222087 w 11863054"/>
                <a:gd name="connsiteY247" fmla="*/ 0 h 6858000"/>
                <a:gd name="connsiteX248" fmla="*/ 2466505 w 11863054"/>
                <a:gd name="connsiteY248" fmla="*/ 423389 h 6858000"/>
                <a:gd name="connsiteX249" fmla="*/ 2214697 w 11863054"/>
                <a:gd name="connsiteY249" fmla="*/ 859580 h 6858000"/>
                <a:gd name="connsiteX250" fmla="*/ 2186053 w 11863054"/>
                <a:gd name="connsiteY250" fmla="*/ 909278 h 6858000"/>
                <a:gd name="connsiteX251" fmla="*/ 1624539 w 11863054"/>
                <a:gd name="connsiteY251" fmla="*/ 909278 h 6858000"/>
                <a:gd name="connsiteX252" fmla="*/ 1344087 w 11863054"/>
                <a:gd name="connsiteY252" fmla="*/ 423445 h 6858000"/>
                <a:gd name="connsiteX253" fmla="*/ 1588559 w 11863054"/>
                <a:gd name="connsiteY253" fmla="*/ 0 h 6858000"/>
                <a:gd name="connsiteX254" fmla="*/ 1569223 w 11863054"/>
                <a:gd name="connsiteY254" fmla="*/ 0 h 6858000"/>
                <a:gd name="connsiteX255" fmla="*/ 1329461 w 11863054"/>
                <a:gd name="connsiteY255" fmla="*/ 415301 h 6858000"/>
                <a:gd name="connsiteX256" fmla="*/ 768446 w 11863054"/>
                <a:gd name="connsiteY256" fmla="*/ 415301 h 6858000"/>
                <a:gd name="connsiteX257" fmla="*/ 528589 w 11863054"/>
                <a:gd name="connsiteY257" fmla="*/ 0 h 6858000"/>
                <a:gd name="connsiteX258" fmla="*/ 509180 w 11863054"/>
                <a:gd name="connsiteY258" fmla="*/ 0 h 6858000"/>
                <a:gd name="connsiteX259" fmla="*/ 753764 w 11863054"/>
                <a:gd name="connsiteY259" fmla="*/ 423667 h 6858000"/>
                <a:gd name="connsiteX260" fmla="*/ 473201 w 11863054"/>
                <a:gd name="connsiteY260" fmla="*/ 909444 h 6858000"/>
                <a:gd name="connsiteX261" fmla="*/ 0 w 11863054"/>
                <a:gd name="connsiteY261" fmla="*/ 909444 h 6858000"/>
                <a:gd name="connsiteX262" fmla="*/ 0 w 11863054"/>
                <a:gd name="connsiteY262" fmla="*/ 926120 h 6858000"/>
                <a:gd name="connsiteX263" fmla="*/ 473201 w 11863054"/>
                <a:gd name="connsiteY263" fmla="*/ 926120 h 6858000"/>
                <a:gd name="connsiteX264" fmla="*/ 754041 w 11863054"/>
                <a:gd name="connsiteY264" fmla="*/ 1412285 h 6858000"/>
                <a:gd name="connsiteX265" fmla="*/ 473533 w 11863054"/>
                <a:gd name="connsiteY265" fmla="*/ 1898063 h 6858000"/>
                <a:gd name="connsiteX266" fmla="*/ 0 w 11863054"/>
                <a:gd name="connsiteY266" fmla="*/ 1898063 h 6858000"/>
                <a:gd name="connsiteX267" fmla="*/ 0 w 11863054"/>
                <a:gd name="connsiteY267" fmla="*/ 1914850 h 6858000"/>
                <a:gd name="connsiteX268" fmla="*/ 473533 w 11863054"/>
                <a:gd name="connsiteY268" fmla="*/ 1914850 h 6858000"/>
                <a:gd name="connsiteX269" fmla="*/ 753875 w 11863054"/>
                <a:gd name="connsiteY269" fmla="*/ 2400517 h 6858000"/>
                <a:gd name="connsiteX270" fmla="*/ 473201 w 11863054"/>
                <a:gd name="connsiteY270" fmla="*/ 2886737 h 6858000"/>
                <a:gd name="connsiteX271" fmla="*/ 0 w 11863054"/>
                <a:gd name="connsiteY271" fmla="*/ 2886737 h 6858000"/>
                <a:gd name="connsiteX272" fmla="*/ 0 w 11863054"/>
                <a:gd name="connsiteY272" fmla="*/ 2903414 h 6858000"/>
                <a:gd name="connsiteX273" fmla="*/ 472924 w 11863054"/>
                <a:gd name="connsiteY273" fmla="*/ 2903414 h 6858000"/>
                <a:gd name="connsiteX274" fmla="*/ 753597 w 11863054"/>
                <a:gd name="connsiteY274" fmla="*/ 3389579 h 6858000"/>
                <a:gd name="connsiteX275" fmla="*/ 473201 w 11863054"/>
                <a:gd name="connsiteY275" fmla="*/ 3875245 h 6858000"/>
                <a:gd name="connsiteX276" fmla="*/ 0 w 11863054"/>
                <a:gd name="connsiteY276" fmla="*/ 3875245 h 6858000"/>
                <a:gd name="connsiteX277" fmla="*/ 0 w 11863054"/>
                <a:gd name="connsiteY277" fmla="*/ 3892032 h 6858000"/>
                <a:gd name="connsiteX278" fmla="*/ 473367 w 11863054"/>
                <a:gd name="connsiteY278" fmla="*/ 3892032 h 6858000"/>
                <a:gd name="connsiteX279" fmla="*/ 753875 w 11863054"/>
                <a:gd name="connsiteY279" fmla="*/ 4377921 h 6858000"/>
                <a:gd name="connsiteX280" fmla="*/ 473201 w 11863054"/>
                <a:gd name="connsiteY280" fmla="*/ 4863975 h 6858000"/>
                <a:gd name="connsiteX281" fmla="*/ 0 w 11863054"/>
                <a:gd name="connsiteY281" fmla="*/ 4863975 h 6858000"/>
                <a:gd name="connsiteX282" fmla="*/ 0 w 11863054"/>
                <a:gd name="connsiteY282" fmla="*/ 4880651 h 6858000"/>
                <a:gd name="connsiteX283" fmla="*/ 473422 w 11863054"/>
                <a:gd name="connsiteY283" fmla="*/ 4880651 h 6858000"/>
                <a:gd name="connsiteX284" fmla="*/ 754041 w 11863054"/>
                <a:gd name="connsiteY284" fmla="*/ 5366650 h 6858000"/>
                <a:gd name="connsiteX285" fmla="*/ 473478 w 11863054"/>
                <a:gd name="connsiteY285" fmla="*/ 5852538 h 6858000"/>
                <a:gd name="connsiteX286" fmla="*/ 0 w 11863054"/>
                <a:gd name="connsiteY286" fmla="*/ 5852538 h 6858000"/>
                <a:gd name="connsiteX287" fmla="*/ 0 w 11863054"/>
                <a:gd name="connsiteY287" fmla="*/ 5869436 h 6858000"/>
                <a:gd name="connsiteX288" fmla="*/ 473699 w 11863054"/>
                <a:gd name="connsiteY288" fmla="*/ 5869436 h 6858000"/>
                <a:gd name="connsiteX289" fmla="*/ 754262 w 11863054"/>
                <a:gd name="connsiteY289" fmla="*/ 6355158 h 6858000"/>
                <a:gd name="connsiteX290" fmla="*/ 473644 w 11863054"/>
                <a:gd name="connsiteY290" fmla="*/ 6841324 h 6858000"/>
                <a:gd name="connsiteX291" fmla="*/ 0 w 11863054"/>
                <a:gd name="connsiteY291" fmla="*/ 6841324 h 6858000"/>
                <a:gd name="connsiteX292" fmla="*/ 0 w 11863054"/>
                <a:gd name="connsiteY292" fmla="*/ 6858000 h 6858000"/>
                <a:gd name="connsiteX293" fmla="*/ 483173 w 11863054"/>
                <a:gd name="connsiteY293" fmla="*/ 6858000 h 6858000"/>
                <a:gd name="connsiteX294" fmla="*/ 773377 w 11863054"/>
                <a:gd name="connsiteY294" fmla="*/ 6355214 h 6858000"/>
                <a:gd name="connsiteX295" fmla="*/ 487938 w 11863054"/>
                <a:gd name="connsiteY295" fmla="*/ 5860849 h 6858000"/>
                <a:gd name="connsiteX296" fmla="*/ 773266 w 11863054"/>
                <a:gd name="connsiteY296" fmla="*/ 5366761 h 6858000"/>
                <a:gd name="connsiteX297" fmla="*/ 487716 w 11863054"/>
                <a:gd name="connsiteY297" fmla="*/ 4872175 h 6858000"/>
                <a:gd name="connsiteX298" fmla="*/ 773099 w 11863054"/>
                <a:gd name="connsiteY298" fmla="*/ 4378031 h 6858000"/>
                <a:gd name="connsiteX299" fmla="*/ 487606 w 11863054"/>
                <a:gd name="connsiteY299" fmla="*/ 3883611 h 6858000"/>
                <a:gd name="connsiteX300" fmla="*/ 768002 w 11863054"/>
                <a:gd name="connsiteY300" fmla="*/ 3398111 h 6858000"/>
                <a:gd name="connsiteX301" fmla="*/ 1338990 w 11863054"/>
                <a:gd name="connsiteY301" fmla="*/ 3398111 h 6858000"/>
                <a:gd name="connsiteX302" fmla="*/ 1624539 w 11863054"/>
                <a:gd name="connsiteY302" fmla="*/ 2903469 h 6858000"/>
                <a:gd name="connsiteX303" fmla="*/ 2185943 w 11863054"/>
                <a:gd name="connsiteY303" fmla="*/ 2903469 h 6858000"/>
                <a:gd name="connsiteX304" fmla="*/ 2466505 w 11863054"/>
                <a:gd name="connsiteY304" fmla="*/ 3389246 h 6858000"/>
                <a:gd name="connsiteX305" fmla="*/ 2185887 w 11863054"/>
                <a:gd name="connsiteY305" fmla="*/ 3875245 h 6858000"/>
                <a:gd name="connsiteX306" fmla="*/ 1615010 w 11863054"/>
                <a:gd name="connsiteY306" fmla="*/ 3875245 h 6858000"/>
                <a:gd name="connsiteX307" fmla="*/ 1324807 w 11863054"/>
                <a:gd name="connsiteY307" fmla="*/ 4378031 h 6858000"/>
                <a:gd name="connsiteX308" fmla="*/ 1610245 w 11863054"/>
                <a:gd name="connsiteY308" fmla="*/ 4872396 h 6858000"/>
                <a:gd name="connsiteX309" fmla="*/ 1324973 w 11863054"/>
                <a:gd name="connsiteY309" fmla="*/ 5366595 h 6858000"/>
                <a:gd name="connsiteX310" fmla="*/ 1615232 w 11863054"/>
                <a:gd name="connsiteY310" fmla="*/ 5869215 h 6858000"/>
                <a:gd name="connsiteX311" fmla="*/ 2195693 w 11863054"/>
                <a:gd name="connsiteY311" fmla="*/ 5869215 h 6858000"/>
                <a:gd name="connsiteX312" fmla="*/ 2485952 w 11863054"/>
                <a:gd name="connsiteY312" fmla="*/ 5366539 h 6858000"/>
                <a:gd name="connsiteX313" fmla="*/ 2200403 w 11863054"/>
                <a:gd name="connsiteY313" fmla="*/ 4872064 h 6858000"/>
                <a:gd name="connsiteX314" fmla="*/ 2481021 w 11863054"/>
                <a:gd name="connsiteY314" fmla="*/ 4386120 h 6858000"/>
                <a:gd name="connsiteX315" fmla="*/ 3042369 w 11863054"/>
                <a:gd name="connsiteY315" fmla="*/ 4386120 h 6858000"/>
                <a:gd name="connsiteX316" fmla="*/ 3327641 w 11863054"/>
                <a:gd name="connsiteY316" fmla="*/ 4880263 h 6858000"/>
                <a:gd name="connsiteX317" fmla="*/ 3908214 w 11863054"/>
                <a:gd name="connsiteY317" fmla="*/ 4880263 h 6858000"/>
                <a:gd name="connsiteX318" fmla="*/ 4193541 w 11863054"/>
                <a:gd name="connsiteY318" fmla="*/ 4386120 h 6858000"/>
                <a:gd name="connsiteX319" fmla="*/ 4764474 w 11863054"/>
                <a:gd name="connsiteY319" fmla="*/ 4386120 h 6858000"/>
                <a:gd name="connsiteX320" fmla="*/ 5050023 w 11863054"/>
                <a:gd name="connsiteY320" fmla="*/ 3891478 h 6858000"/>
                <a:gd name="connsiteX321" fmla="*/ 5620734 w 11863054"/>
                <a:gd name="connsiteY321" fmla="*/ 3891478 h 6858000"/>
                <a:gd name="connsiteX322" fmla="*/ 5906173 w 11863054"/>
                <a:gd name="connsiteY322" fmla="*/ 3396948 h 6858000"/>
                <a:gd name="connsiteX323" fmla="*/ 6476938 w 11863054"/>
                <a:gd name="connsiteY323" fmla="*/ 3396948 h 6858000"/>
                <a:gd name="connsiteX324" fmla="*/ 6762488 w 11863054"/>
                <a:gd name="connsiteY324" fmla="*/ 2902416 h 6858000"/>
                <a:gd name="connsiteX325" fmla="*/ 7333199 w 11863054"/>
                <a:gd name="connsiteY325" fmla="*/ 2902416 h 6858000"/>
                <a:gd name="connsiteX326" fmla="*/ 7618637 w 11863054"/>
                <a:gd name="connsiteY326" fmla="*/ 2408218 h 6858000"/>
                <a:gd name="connsiteX327" fmla="*/ 8189569 w 11863054"/>
                <a:gd name="connsiteY327" fmla="*/ 2408218 h 6858000"/>
                <a:gd name="connsiteX328" fmla="*/ 8475063 w 11863054"/>
                <a:gd name="connsiteY328" fmla="*/ 1913631 h 6858000"/>
                <a:gd name="connsiteX329" fmla="*/ 9045830 w 11863054"/>
                <a:gd name="connsiteY329" fmla="*/ 1913631 h 6858000"/>
                <a:gd name="connsiteX330" fmla="*/ 9331379 w 11863054"/>
                <a:gd name="connsiteY330" fmla="*/ 1419100 h 6858000"/>
                <a:gd name="connsiteX331" fmla="*/ 9902145 w 11863054"/>
                <a:gd name="connsiteY331" fmla="*/ 1419100 h 6858000"/>
                <a:gd name="connsiteX332" fmla="*/ 10187584 w 11863054"/>
                <a:gd name="connsiteY332" fmla="*/ 924680 h 6858000"/>
                <a:gd name="connsiteX333" fmla="*/ 10758184 w 11863054"/>
                <a:gd name="connsiteY333" fmla="*/ 924680 h 6858000"/>
                <a:gd name="connsiteX334" fmla="*/ 11043511 w 11863054"/>
                <a:gd name="connsiteY334" fmla="*/ 430537 h 6858000"/>
                <a:gd name="connsiteX335" fmla="*/ 11614444 w 11863054"/>
                <a:gd name="connsiteY335" fmla="*/ 4305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11863054" h="6858000">
                  <a:moveTo>
                    <a:pt x="2186275" y="4880651"/>
                  </a:moveTo>
                  <a:lnTo>
                    <a:pt x="2466727" y="5366539"/>
                  </a:lnTo>
                  <a:lnTo>
                    <a:pt x="2186109" y="5852538"/>
                  </a:lnTo>
                  <a:lnTo>
                    <a:pt x="1624817" y="5852538"/>
                  </a:lnTo>
                  <a:lnTo>
                    <a:pt x="1344198" y="5366539"/>
                  </a:lnTo>
                  <a:lnTo>
                    <a:pt x="1624650" y="4880651"/>
                  </a:lnTo>
                  <a:close/>
                  <a:moveTo>
                    <a:pt x="2185887" y="3891755"/>
                  </a:moveTo>
                  <a:lnTo>
                    <a:pt x="2466505" y="4377921"/>
                  </a:lnTo>
                  <a:lnTo>
                    <a:pt x="2186053" y="4863753"/>
                  </a:lnTo>
                  <a:lnTo>
                    <a:pt x="1624539" y="4863753"/>
                  </a:lnTo>
                  <a:lnTo>
                    <a:pt x="1343977" y="4377921"/>
                  </a:lnTo>
                  <a:lnTo>
                    <a:pt x="1624650" y="3891755"/>
                  </a:lnTo>
                  <a:close/>
                  <a:moveTo>
                    <a:pt x="3898518" y="3891700"/>
                  </a:moveTo>
                  <a:lnTo>
                    <a:pt x="4179137" y="4377644"/>
                  </a:lnTo>
                  <a:lnTo>
                    <a:pt x="3898518" y="4863642"/>
                  </a:lnTo>
                  <a:lnTo>
                    <a:pt x="3337226" y="4863642"/>
                  </a:lnTo>
                  <a:lnTo>
                    <a:pt x="3056718" y="4377644"/>
                  </a:lnTo>
                  <a:lnTo>
                    <a:pt x="3337337" y="3891700"/>
                  </a:lnTo>
                  <a:close/>
                  <a:moveTo>
                    <a:pt x="4755000" y="3397502"/>
                  </a:moveTo>
                  <a:lnTo>
                    <a:pt x="5035508" y="3883389"/>
                  </a:lnTo>
                  <a:lnTo>
                    <a:pt x="4754778" y="4369444"/>
                  </a:lnTo>
                  <a:lnTo>
                    <a:pt x="4193652" y="4369444"/>
                  </a:lnTo>
                  <a:lnTo>
                    <a:pt x="3912978" y="3883223"/>
                  </a:lnTo>
                  <a:lnTo>
                    <a:pt x="4193541" y="3397502"/>
                  </a:lnTo>
                  <a:close/>
                  <a:moveTo>
                    <a:pt x="3042147" y="3397391"/>
                  </a:moveTo>
                  <a:lnTo>
                    <a:pt x="3322710" y="3883389"/>
                  </a:lnTo>
                  <a:lnTo>
                    <a:pt x="3042147" y="4369444"/>
                  </a:lnTo>
                  <a:lnTo>
                    <a:pt x="2480966" y="4369444"/>
                  </a:lnTo>
                  <a:lnTo>
                    <a:pt x="2200292" y="3883389"/>
                  </a:lnTo>
                  <a:lnTo>
                    <a:pt x="2480911" y="3397391"/>
                  </a:lnTo>
                  <a:close/>
                  <a:moveTo>
                    <a:pt x="3898186" y="2902970"/>
                  </a:moveTo>
                  <a:lnTo>
                    <a:pt x="4178860" y="3389136"/>
                  </a:lnTo>
                  <a:lnTo>
                    <a:pt x="3898463" y="3874857"/>
                  </a:lnTo>
                  <a:lnTo>
                    <a:pt x="3337115" y="3874857"/>
                  </a:lnTo>
                  <a:lnTo>
                    <a:pt x="3056607" y="3388969"/>
                  </a:lnTo>
                  <a:lnTo>
                    <a:pt x="3337115" y="2902970"/>
                  </a:lnTo>
                  <a:close/>
                  <a:moveTo>
                    <a:pt x="5611205" y="2902915"/>
                  </a:moveTo>
                  <a:lnTo>
                    <a:pt x="5891712" y="3388748"/>
                  </a:lnTo>
                  <a:lnTo>
                    <a:pt x="5611149" y="3874857"/>
                  </a:lnTo>
                  <a:lnTo>
                    <a:pt x="5049857" y="3874857"/>
                  </a:lnTo>
                  <a:lnTo>
                    <a:pt x="4769239" y="3388969"/>
                  </a:lnTo>
                  <a:lnTo>
                    <a:pt x="5049857" y="2902915"/>
                  </a:lnTo>
                  <a:close/>
                  <a:moveTo>
                    <a:pt x="1329350" y="2409215"/>
                  </a:moveTo>
                  <a:lnTo>
                    <a:pt x="1609968" y="2895269"/>
                  </a:lnTo>
                  <a:lnTo>
                    <a:pt x="1329350" y="3381379"/>
                  </a:lnTo>
                  <a:lnTo>
                    <a:pt x="768224" y="3381379"/>
                  </a:lnTo>
                  <a:lnTo>
                    <a:pt x="487716" y="2895546"/>
                  </a:lnTo>
                  <a:lnTo>
                    <a:pt x="768501" y="2409215"/>
                  </a:lnTo>
                  <a:close/>
                  <a:moveTo>
                    <a:pt x="3041981" y="2408883"/>
                  </a:moveTo>
                  <a:lnTo>
                    <a:pt x="3322599" y="2894826"/>
                  </a:lnTo>
                  <a:lnTo>
                    <a:pt x="3042092" y="3380714"/>
                  </a:lnTo>
                  <a:lnTo>
                    <a:pt x="2480855" y="3380714"/>
                  </a:lnTo>
                  <a:lnTo>
                    <a:pt x="2200126" y="2894715"/>
                  </a:lnTo>
                  <a:lnTo>
                    <a:pt x="2480689" y="2408883"/>
                  </a:lnTo>
                  <a:close/>
                  <a:moveTo>
                    <a:pt x="4754612" y="2408827"/>
                  </a:moveTo>
                  <a:lnTo>
                    <a:pt x="5035231" y="2894715"/>
                  </a:lnTo>
                  <a:lnTo>
                    <a:pt x="4754612" y="3380714"/>
                  </a:lnTo>
                  <a:lnTo>
                    <a:pt x="4193375" y="3380714"/>
                  </a:lnTo>
                  <a:lnTo>
                    <a:pt x="3912757" y="2894715"/>
                  </a:lnTo>
                  <a:lnTo>
                    <a:pt x="4193320" y="2408827"/>
                  </a:lnTo>
                  <a:close/>
                  <a:moveTo>
                    <a:pt x="6467576" y="2408384"/>
                  </a:moveTo>
                  <a:lnTo>
                    <a:pt x="6748083" y="2894217"/>
                  </a:lnTo>
                  <a:lnTo>
                    <a:pt x="6467409" y="3380326"/>
                  </a:lnTo>
                  <a:lnTo>
                    <a:pt x="5906173" y="3380326"/>
                  </a:lnTo>
                  <a:lnTo>
                    <a:pt x="5625554" y="2894272"/>
                  </a:lnTo>
                  <a:lnTo>
                    <a:pt x="5906006" y="2408384"/>
                  </a:lnTo>
                  <a:close/>
                  <a:moveTo>
                    <a:pt x="2185610" y="1914628"/>
                  </a:moveTo>
                  <a:lnTo>
                    <a:pt x="2466229" y="2400572"/>
                  </a:lnTo>
                  <a:lnTo>
                    <a:pt x="2423402" y="2474702"/>
                  </a:lnTo>
                  <a:lnTo>
                    <a:pt x="2185555" y="2886737"/>
                  </a:lnTo>
                  <a:lnTo>
                    <a:pt x="1624318" y="2886737"/>
                  </a:lnTo>
                  <a:lnTo>
                    <a:pt x="1344087" y="2401292"/>
                  </a:lnTo>
                  <a:lnTo>
                    <a:pt x="1625093" y="1914628"/>
                  </a:lnTo>
                  <a:close/>
                  <a:moveTo>
                    <a:pt x="3898186" y="1914462"/>
                  </a:moveTo>
                  <a:lnTo>
                    <a:pt x="4178804" y="2400461"/>
                  </a:lnTo>
                  <a:lnTo>
                    <a:pt x="3898241" y="2886349"/>
                  </a:lnTo>
                  <a:lnTo>
                    <a:pt x="3337115" y="2886349"/>
                  </a:lnTo>
                  <a:lnTo>
                    <a:pt x="3056441" y="2400295"/>
                  </a:lnTo>
                  <a:lnTo>
                    <a:pt x="3336949" y="1914462"/>
                  </a:lnTo>
                  <a:close/>
                  <a:moveTo>
                    <a:pt x="5610872" y="1914185"/>
                  </a:moveTo>
                  <a:lnTo>
                    <a:pt x="5891491" y="2400240"/>
                  </a:lnTo>
                  <a:lnTo>
                    <a:pt x="5610983" y="2886072"/>
                  </a:lnTo>
                  <a:lnTo>
                    <a:pt x="5049469" y="2886072"/>
                  </a:lnTo>
                  <a:lnTo>
                    <a:pt x="4768962" y="2400295"/>
                  </a:lnTo>
                  <a:lnTo>
                    <a:pt x="5049635" y="1914185"/>
                  </a:lnTo>
                  <a:close/>
                  <a:moveTo>
                    <a:pt x="7323669" y="1913853"/>
                  </a:moveTo>
                  <a:lnTo>
                    <a:pt x="7604232" y="2399852"/>
                  </a:lnTo>
                  <a:lnTo>
                    <a:pt x="7323669" y="2885740"/>
                  </a:lnTo>
                  <a:lnTo>
                    <a:pt x="6762377" y="2885740"/>
                  </a:lnTo>
                  <a:lnTo>
                    <a:pt x="6481870" y="2399741"/>
                  </a:lnTo>
                  <a:lnTo>
                    <a:pt x="6762322" y="1913853"/>
                  </a:lnTo>
                  <a:close/>
                  <a:moveTo>
                    <a:pt x="1330015" y="1420652"/>
                  </a:moveTo>
                  <a:lnTo>
                    <a:pt x="1610135" y="1905930"/>
                  </a:lnTo>
                  <a:lnTo>
                    <a:pt x="1329073" y="2392594"/>
                  </a:lnTo>
                  <a:lnTo>
                    <a:pt x="768723" y="2392594"/>
                  </a:lnTo>
                  <a:lnTo>
                    <a:pt x="487993" y="1906429"/>
                  </a:lnTo>
                  <a:lnTo>
                    <a:pt x="768446" y="1420652"/>
                  </a:lnTo>
                  <a:close/>
                  <a:moveTo>
                    <a:pt x="4754612" y="1420208"/>
                  </a:moveTo>
                  <a:lnTo>
                    <a:pt x="5035175" y="1906096"/>
                  </a:lnTo>
                  <a:lnTo>
                    <a:pt x="4754391" y="2392151"/>
                  </a:lnTo>
                  <a:lnTo>
                    <a:pt x="4193375" y="2392151"/>
                  </a:lnTo>
                  <a:lnTo>
                    <a:pt x="3912646" y="1905986"/>
                  </a:lnTo>
                  <a:lnTo>
                    <a:pt x="4193098" y="1420208"/>
                  </a:lnTo>
                  <a:close/>
                  <a:moveTo>
                    <a:pt x="3041704" y="1420097"/>
                  </a:moveTo>
                  <a:lnTo>
                    <a:pt x="3322322" y="1906207"/>
                  </a:lnTo>
                  <a:lnTo>
                    <a:pt x="3041925" y="2391985"/>
                  </a:lnTo>
                  <a:lnTo>
                    <a:pt x="2480523" y="2391985"/>
                  </a:lnTo>
                  <a:lnTo>
                    <a:pt x="2200347" y="1906706"/>
                  </a:lnTo>
                  <a:lnTo>
                    <a:pt x="2481187" y="1420097"/>
                  </a:lnTo>
                  <a:close/>
                  <a:moveTo>
                    <a:pt x="6467243" y="1419654"/>
                  </a:moveTo>
                  <a:lnTo>
                    <a:pt x="6747862" y="1905597"/>
                  </a:lnTo>
                  <a:lnTo>
                    <a:pt x="6467409" y="2391486"/>
                  </a:lnTo>
                  <a:lnTo>
                    <a:pt x="5905785" y="2391486"/>
                  </a:lnTo>
                  <a:lnTo>
                    <a:pt x="5625333" y="1905708"/>
                  </a:lnTo>
                  <a:lnTo>
                    <a:pt x="5735696" y="1714456"/>
                  </a:lnTo>
                  <a:lnTo>
                    <a:pt x="5905950" y="1419654"/>
                  </a:lnTo>
                  <a:close/>
                  <a:moveTo>
                    <a:pt x="8180151" y="1419654"/>
                  </a:moveTo>
                  <a:lnTo>
                    <a:pt x="8460603" y="1905487"/>
                  </a:lnTo>
                  <a:lnTo>
                    <a:pt x="8179984" y="2391652"/>
                  </a:lnTo>
                  <a:lnTo>
                    <a:pt x="7618914" y="2391652"/>
                  </a:lnTo>
                  <a:lnTo>
                    <a:pt x="7338130" y="1905432"/>
                  </a:lnTo>
                  <a:lnTo>
                    <a:pt x="7618582" y="1419654"/>
                  </a:lnTo>
                  <a:close/>
                  <a:moveTo>
                    <a:pt x="2186164" y="926120"/>
                  </a:moveTo>
                  <a:lnTo>
                    <a:pt x="2466395" y="1411344"/>
                  </a:lnTo>
                  <a:lnTo>
                    <a:pt x="2185555" y="1897952"/>
                  </a:lnTo>
                  <a:lnTo>
                    <a:pt x="1624817" y="1897952"/>
                  </a:lnTo>
                  <a:lnTo>
                    <a:pt x="1344253" y="1412064"/>
                  </a:lnTo>
                  <a:lnTo>
                    <a:pt x="1624817" y="926120"/>
                  </a:lnTo>
                  <a:close/>
                  <a:moveTo>
                    <a:pt x="3897853" y="925677"/>
                  </a:moveTo>
                  <a:lnTo>
                    <a:pt x="4178583" y="1411842"/>
                  </a:lnTo>
                  <a:lnTo>
                    <a:pt x="3898186" y="1897620"/>
                  </a:lnTo>
                  <a:lnTo>
                    <a:pt x="3336838" y="1897620"/>
                  </a:lnTo>
                  <a:lnTo>
                    <a:pt x="3056607" y="1412174"/>
                  </a:lnTo>
                  <a:lnTo>
                    <a:pt x="3337503" y="925677"/>
                  </a:lnTo>
                  <a:close/>
                  <a:moveTo>
                    <a:pt x="5610872" y="925622"/>
                  </a:moveTo>
                  <a:lnTo>
                    <a:pt x="5891380" y="1411455"/>
                  </a:lnTo>
                  <a:lnTo>
                    <a:pt x="5710376" y="1725093"/>
                  </a:lnTo>
                  <a:lnTo>
                    <a:pt x="5610761" y="1897453"/>
                  </a:lnTo>
                  <a:lnTo>
                    <a:pt x="5049414" y="1897453"/>
                  </a:lnTo>
                  <a:lnTo>
                    <a:pt x="4768851" y="1411565"/>
                  </a:lnTo>
                  <a:lnTo>
                    <a:pt x="5049469" y="925622"/>
                  </a:lnTo>
                  <a:close/>
                  <a:moveTo>
                    <a:pt x="7323392" y="925123"/>
                  </a:moveTo>
                  <a:lnTo>
                    <a:pt x="7604121" y="1411344"/>
                  </a:lnTo>
                  <a:lnTo>
                    <a:pt x="7323558" y="1896955"/>
                  </a:lnTo>
                  <a:lnTo>
                    <a:pt x="6762100" y="1896955"/>
                  </a:lnTo>
                  <a:lnTo>
                    <a:pt x="6481537" y="1411178"/>
                  </a:lnTo>
                  <a:lnTo>
                    <a:pt x="6591069" y="1221532"/>
                  </a:lnTo>
                  <a:lnTo>
                    <a:pt x="6762266" y="925123"/>
                  </a:lnTo>
                  <a:close/>
                  <a:moveTo>
                    <a:pt x="9036411" y="925068"/>
                  </a:moveTo>
                  <a:lnTo>
                    <a:pt x="9316919" y="1410955"/>
                  </a:lnTo>
                  <a:lnTo>
                    <a:pt x="9036245" y="1896955"/>
                  </a:lnTo>
                  <a:lnTo>
                    <a:pt x="8475008" y="1896955"/>
                  </a:lnTo>
                  <a:lnTo>
                    <a:pt x="8194389" y="1411066"/>
                  </a:lnTo>
                  <a:lnTo>
                    <a:pt x="8475008" y="925068"/>
                  </a:lnTo>
                  <a:close/>
                  <a:moveTo>
                    <a:pt x="1329738" y="432032"/>
                  </a:moveTo>
                  <a:lnTo>
                    <a:pt x="1610245" y="917810"/>
                  </a:lnTo>
                  <a:lnTo>
                    <a:pt x="1329627" y="1403864"/>
                  </a:lnTo>
                  <a:lnTo>
                    <a:pt x="768446" y="1403864"/>
                  </a:lnTo>
                  <a:lnTo>
                    <a:pt x="487827" y="917810"/>
                  </a:lnTo>
                  <a:lnTo>
                    <a:pt x="768335" y="432032"/>
                  </a:lnTo>
                  <a:close/>
                  <a:moveTo>
                    <a:pt x="3042369" y="431534"/>
                  </a:moveTo>
                  <a:lnTo>
                    <a:pt x="3322599" y="916979"/>
                  </a:lnTo>
                  <a:lnTo>
                    <a:pt x="3041704" y="1403366"/>
                  </a:lnTo>
                  <a:lnTo>
                    <a:pt x="2481187" y="1403366"/>
                  </a:lnTo>
                  <a:lnTo>
                    <a:pt x="2200569" y="917422"/>
                  </a:lnTo>
                  <a:lnTo>
                    <a:pt x="2481021" y="431534"/>
                  </a:lnTo>
                  <a:close/>
                  <a:moveTo>
                    <a:pt x="4754335" y="431534"/>
                  </a:moveTo>
                  <a:lnTo>
                    <a:pt x="5034898" y="917477"/>
                  </a:lnTo>
                  <a:lnTo>
                    <a:pt x="4754169" y="1403366"/>
                  </a:lnTo>
                  <a:lnTo>
                    <a:pt x="4193043" y="1403366"/>
                  </a:lnTo>
                  <a:lnTo>
                    <a:pt x="3912701" y="917810"/>
                  </a:lnTo>
                  <a:lnTo>
                    <a:pt x="4193541" y="431534"/>
                  </a:lnTo>
                  <a:close/>
                  <a:moveTo>
                    <a:pt x="6467243" y="431090"/>
                  </a:moveTo>
                  <a:lnTo>
                    <a:pt x="6747695" y="916979"/>
                  </a:lnTo>
                  <a:lnTo>
                    <a:pt x="6693400" y="1011054"/>
                  </a:lnTo>
                  <a:lnTo>
                    <a:pt x="6467077" y="1403033"/>
                  </a:lnTo>
                  <a:lnTo>
                    <a:pt x="5905729" y="1403033"/>
                  </a:lnTo>
                  <a:lnTo>
                    <a:pt x="5625166" y="916979"/>
                  </a:lnTo>
                  <a:lnTo>
                    <a:pt x="5905674" y="431090"/>
                  </a:lnTo>
                  <a:close/>
                  <a:moveTo>
                    <a:pt x="8179874" y="431035"/>
                  </a:moveTo>
                  <a:lnTo>
                    <a:pt x="8460326" y="916812"/>
                  </a:lnTo>
                  <a:lnTo>
                    <a:pt x="8179818" y="1402867"/>
                  </a:lnTo>
                  <a:lnTo>
                    <a:pt x="7618582" y="1402867"/>
                  </a:lnTo>
                  <a:lnTo>
                    <a:pt x="7337963" y="916812"/>
                  </a:lnTo>
                  <a:lnTo>
                    <a:pt x="7618471" y="431035"/>
                  </a:lnTo>
                  <a:close/>
                  <a:moveTo>
                    <a:pt x="9892505" y="430592"/>
                  </a:moveTo>
                  <a:lnTo>
                    <a:pt x="10173123" y="916536"/>
                  </a:lnTo>
                  <a:lnTo>
                    <a:pt x="9892560" y="1402534"/>
                  </a:lnTo>
                  <a:lnTo>
                    <a:pt x="9331323" y="1402534"/>
                  </a:lnTo>
                  <a:lnTo>
                    <a:pt x="9050650" y="916424"/>
                  </a:lnTo>
                  <a:lnTo>
                    <a:pt x="9331157" y="430592"/>
                  </a:lnTo>
                  <a:close/>
                  <a:moveTo>
                    <a:pt x="11863054" y="0"/>
                  </a:moveTo>
                  <a:lnTo>
                    <a:pt x="11843939" y="0"/>
                  </a:lnTo>
                  <a:lnTo>
                    <a:pt x="11604970" y="413916"/>
                  </a:lnTo>
                  <a:lnTo>
                    <a:pt x="11043788" y="413916"/>
                  </a:lnTo>
                  <a:lnTo>
                    <a:pt x="10804853" y="0"/>
                  </a:lnTo>
                  <a:lnTo>
                    <a:pt x="10785529" y="0"/>
                  </a:lnTo>
                  <a:lnTo>
                    <a:pt x="11029217" y="422170"/>
                  </a:lnTo>
                  <a:lnTo>
                    <a:pt x="10748654" y="908114"/>
                  </a:lnTo>
                  <a:lnTo>
                    <a:pt x="10187639" y="908114"/>
                  </a:lnTo>
                  <a:lnTo>
                    <a:pt x="9906965" y="421949"/>
                  </a:lnTo>
                  <a:lnTo>
                    <a:pt x="10150539" y="0"/>
                  </a:lnTo>
                  <a:lnTo>
                    <a:pt x="10131190" y="0"/>
                  </a:lnTo>
                  <a:lnTo>
                    <a:pt x="9892339" y="413638"/>
                  </a:lnTo>
                  <a:lnTo>
                    <a:pt x="9330991" y="413638"/>
                  </a:lnTo>
                  <a:lnTo>
                    <a:pt x="9092139" y="0"/>
                  </a:lnTo>
                  <a:lnTo>
                    <a:pt x="9072826" y="0"/>
                  </a:lnTo>
                  <a:lnTo>
                    <a:pt x="9316642" y="422392"/>
                  </a:lnTo>
                  <a:lnTo>
                    <a:pt x="9036189" y="908170"/>
                  </a:lnTo>
                  <a:lnTo>
                    <a:pt x="8474731" y="908170"/>
                  </a:lnTo>
                  <a:lnTo>
                    <a:pt x="8194168" y="422503"/>
                  </a:lnTo>
                  <a:lnTo>
                    <a:pt x="8438136" y="0"/>
                  </a:lnTo>
                  <a:lnTo>
                    <a:pt x="8418811" y="0"/>
                  </a:lnTo>
                  <a:lnTo>
                    <a:pt x="8179597" y="414303"/>
                  </a:lnTo>
                  <a:lnTo>
                    <a:pt x="7618582" y="414303"/>
                  </a:lnTo>
                  <a:lnTo>
                    <a:pt x="7379274" y="0"/>
                  </a:lnTo>
                  <a:lnTo>
                    <a:pt x="7359940" y="0"/>
                  </a:lnTo>
                  <a:lnTo>
                    <a:pt x="7603955" y="422558"/>
                  </a:lnTo>
                  <a:lnTo>
                    <a:pt x="7323337" y="908447"/>
                  </a:lnTo>
                  <a:lnTo>
                    <a:pt x="6762100" y="908447"/>
                  </a:lnTo>
                  <a:lnTo>
                    <a:pt x="6481482" y="422503"/>
                  </a:lnTo>
                  <a:lnTo>
                    <a:pt x="6725445" y="0"/>
                  </a:lnTo>
                  <a:lnTo>
                    <a:pt x="6706132" y="0"/>
                  </a:lnTo>
                  <a:lnTo>
                    <a:pt x="6466910" y="414303"/>
                  </a:lnTo>
                  <a:lnTo>
                    <a:pt x="5905508" y="414303"/>
                  </a:lnTo>
                  <a:lnTo>
                    <a:pt x="5666338" y="0"/>
                  </a:lnTo>
                  <a:lnTo>
                    <a:pt x="5646974" y="0"/>
                  </a:lnTo>
                  <a:lnTo>
                    <a:pt x="5891214" y="422946"/>
                  </a:lnTo>
                  <a:lnTo>
                    <a:pt x="5618463" y="895261"/>
                  </a:lnTo>
                  <a:lnTo>
                    <a:pt x="5610706" y="908835"/>
                  </a:lnTo>
                  <a:lnTo>
                    <a:pt x="5049192" y="908835"/>
                  </a:lnTo>
                  <a:lnTo>
                    <a:pt x="4769017" y="423556"/>
                  </a:lnTo>
                  <a:lnTo>
                    <a:pt x="5013591" y="0"/>
                  </a:lnTo>
                  <a:lnTo>
                    <a:pt x="4993649" y="0"/>
                  </a:lnTo>
                  <a:lnTo>
                    <a:pt x="4754058" y="414857"/>
                  </a:lnTo>
                  <a:lnTo>
                    <a:pt x="4193652" y="414857"/>
                  </a:lnTo>
                  <a:lnTo>
                    <a:pt x="3954146" y="0"/>
                  </a:lnTo>
                  <a:lnTo>
                    <a:pt x="3934827" y="0"/>
                  </a:lnTo>
                  <a:lnTo>
                    <a:pt x="4178860" y="422669"/>
                  </a:lnTo>
                  <a:lnTo>
                    <a:pt x="3898186" y="909056"/>
                  </a:lnTo>
                  <a:lnTo>
                    <a:pt x="3337503" y="909056"/>
                  </a:lnTo>
                  <a:lnTo>
                    <a:pt x="3056829" y="422946"/>
                  </a:lnTo>
                  <a:lnTo>
                    <a:pt x="3300979" y="0"/>
                  </a:lnTo>
                  <a:lnTo>
                    <a:pt x="3281513" y="0"/>
                  </a:lnTo>
                  <a:lnTo>
                    <a:pt x="3042203" y="414691"/>
                  </a:lnTo>
                  <a:lnTo>
                    <a:pt x="2480855" y="414691"/>
                  </a:lnTo>
                  <a:lnTo>
                    <a:pt x="2241403" y="0"/>
                  </a:lnTo>
                  <a:lnTo>
                    <a:pt x="2222087" y="0"/>
                  </a:lnTo>
                  <a:lnTo>
                    <a:pt x="2466505" y="423389"/>
                  </a:lnTo>
                  <a:lnTo>
                    <a:pt x="2214697" y="859580"/>
                  </a:lnTo>
                  <a:lnTo>
                    <a:pt x="2186053" y="909278"/>
                  </a:lnTo>
                  <a:lnTo>
                    <a:pt x="1624539" y="909278"/>
                  </a:lnTo>
                  <a:lnTo>
                    <a:pt x="1344087" y="423445"/>
                  </a:lnTo>
                  <a:lnTo>
                    <a:pt x="1588559" y="0"/>
                  </a:lnTo>
                  <a:lnTo>
                    <a:pt x="1569223" y="0"/>
                  </a:lnTo>
                  <a:lnTo>
                    <a:pt x="1329461" y="415301"/>
                  </a:lnTo>
                  <a:lnTo>
                    <a:pt x="768446" y="415301"/>
                  </a:lnTo>
                  <a:lnTo>
                    <a:pt x="528589" y="0"/>
                  </a:lnTo>
                  <a:lnTo>
                    <a:pt x="509180" y="0"/>
                  </a:lnTo>
                  <a:lnTo>
                    <a:pt x="753764" y="423667"/>
                  </a:lnTo>
                  <a:lnTo>
                    <a:pt x="473201" y="909444"/>
                  </a:lnTo>
                  <a:lnTo>
                    <a:pt x="0" y="909444"/>
                  </a:lnTo>
                  <a:lnTo>
                    <a:pt x="0" y="926120"/>
                  </a:lnTo>
                  <a:lnTo>
                    <a:pt x="473201" y="926120"/>
                  </a:lnTo>
                  <a:lnTo>
                    <a:pt x="754041" y="1412285"/>
                  </a:lnTo>
                  <a:lnTo>
                    <a:pt x="473533" y="1898063"/>
                  </a:lnTo>
                  <a:lnTo>
                    <a:pt x="0" y="1898063"/>
                  </a:lnTo>
                  <a:lnTo>
                    <a:pt x="0" y="1914850"/>
                  </a:lnTo>
                  <a:lnTo>
                    <a:pt x="473533" y="1914850"/>
                  </a:lnTo>
                  <a:lnTo>
                    <a:pt x="753875" y="2400517"/>
                  </a:lnTo>
                  <a:lnTo>
                    <a:pt x="473201" y="2886737"/>
                  </a:lnTo>
                  <a:lnTo>
                    <a:pt x="0" y="2886737"/>
                  </a:lnTo>
                  <a:lnTo>
                    <a:pt x="0" y="2903414"/>
                  </a:lnTo>
                  <a:lnTo>
                    <a:pt x="472924" y="2903414"/>
                  </a:lnTo>
                  <a:lnTo>
                    <a:pt x="753597" y="3389579"/>
                  </a:lnTo>
                  <a:lnTo>
                    <a:pt x="473201" y="3875245"/>
                  </a:lnTo>
                  <a:lnTo>
                    <a:pt x="0" y="3875245"/>
                  </a:lnTo>
                  <a:lnTo>
                    <a:pt x="0" y="3892032"/>
                  </a:lnTo>
                  <a:lnTo>
                    <a:pt x="473367" y="3892032"/>
                  </a:lnTo>
                  <a:lnTo>
                    <a:pt x="753875" y="4377921"/>
                  </a:lnTo>
                  <a:lnTo>
                    <a:pt x="473201" y="4863975"/>
                  </a:lnTo>
                  <a:lnTo>
                    <a:pt x="0" y="4863975"/>
                  </a:lnTo>
                  <a:lnTo>
                    <a:pt x="0" y="4880651"/>
                  </a:lnTo>
                  <a:lnTo>
                    <a:pt x="473422" y="4880651"/>
                  </a:lnTo>
                  <a:lnTo>
                    <a:pt x="754041" y="5366650"/>
                  </a:lnTo>
                  <a:lnTo>
                    <a:pt x="473478" y="5852538"/>
                  </a:lnTo>
                  <a:lnTo>
                    <a:pt x="0" y="5852538"/>
                  </a:lnTo>
                  <a:lnTo>
                    <a:pt x="0" y="5869436"/>
                  </a:lnTo>
                  <a:lnTo>
                    <a:pt x="473699" y="5869436"/>
                  </a:lnTo>
                  <a:lnTo>
                    <a:pt x="754262" y="6355158"/>
                  </a:lnTo>
                  <a:lnTo>
                    <a:pt x="473644" y="6841324"/>
                  </a:lnTo>
                  <a:lnTo>
                    <a:pt x="0" y="6841324"/>
                  </a:lnTo>
                  <a:lnTo>
                    <a:pt x="0" y="6858000"/>
                  </a:lnTo>
                  <a:lnTo>
                    <a:pt x="483173" y="6858000"/>
                  </a:lnTo>
                  <a:lnTo>
                    <a:pt x="773377" y="6355214"/>
                  </a:lnTo>
                  <a:lnTo>
                    <a:pt x="487938" y="5860849"/>
                  </a:lnTo>
                  <a:lnTo>
                    <a:pt x="773266" y="5366761"/>
                  </a:lnTo>
                  <a:lnTo>
                    <a:pt x="487716" y="4872175"/>
                  </a:lnTo>
                  <a:lnTo>
                    <a:pt x="773099" y="4378031"/>
                  </a:lnTo>
                  <a:lnTo>
                    <a:pt x="487606" y="3883611"/>
                  </a:lnTo>
                  <a:lnTo>
                    <a:pt x="768002" y="3398111"/>
                  </a:lnTo>
                  <a:lnTo>
                    <a:pt x="1338990" y="3398111"/>
                  </a:lnTo>
                  <a:lnTo>
                    <a:pt x="1624539" y="2903469"/>
                  </a:lnTo>
                  <a:lnTo>
                    <a:pt x="2185943" y="2903469"/>
                  </a:lnTo>
                  <a:lnTo>
                    <a:pt x="2466505" y="3389246"/>
                  </a:lnTo>
                  <a:lnTo>
                    <a:pt x="2185887" y="3875245"/>
                  </a:lnTo>
                  <a:lnTo>
                    <a:pt x="1615010" y="3875245"/>
                  </a:lnTo>
                  <a:lnTo>
                    <a:pt x="1324807" y="4378031"/>
                  </a:lnTo>
                  <a:lnTo>
                    <a:pt x="1610245" y="4872396"/>
                  </a:lnTo>
                  <a:lnTo>
                    <a:pt x="1324973" y="5366595"/>
                  </a:lnTo>
                  <a:lnTo>
                    <a:pt x="1615232" y="5869215"/>
                  </a:lnTo>
                  <a:lnTo>
                    <a:pt x="2195693" y="5869215"/>
                  </a:lnTo>
                  <a:lnTo>
                    <a:pt x="2485952" y="5366539"/>
                  </a:lnTo>
                  <a:lnTo>
                    <a:pt x="2200403" y="4872064"/>
                  </a:lnTo>
                  <a:lnTo>
                    <a:pt x="2481021" y="4386120"/>
                  </a:lnTo>
                  <a:lnTo>
                    <a:pt x="3042369" y="4386120"/>
                  </a:lnTo>
                  <a:lnTo>
                    <a:pt x="3327641" y="4880263"/>
                  </a:lnTo>
                  <a:lnTo>
                    <a:pt x="3908214" y="4880263"/>
                  </a:lnTo>
                  <a:lnTo>
                    <a:pt x="4193541" y="4386120"/>
                  </a:lnTo>
                  <a:lnTo>
                    <a:pt x="4764474" y="4386120"/>
                  </a:lnTo>
                  <a:lnTo>
                    <a:pt x="5050023" y="3891478"/>
                  </a:lnTo>
                  <a:lnTo>
                    <a:pt x="5620734" y="3891478"/>
                  </a:lnTo>
                  <a:lnTo>
                    <a:pt x="5906173" y="3396948"/>
                  </a:lnTo>
                  <a:lnTo>
                    <a:pt x="6476938" y="3396948"/>
                  </a:lnTo>
                  <a:lnTo>
                    <a:pt x="6762488" y="2902416"/>
                  </a:lnTo>
                  <a:lnTo>
                    <a:pt x="7333199" y="2902416"/>
                  </a:lnTo>
                  <a:lnTo>
                    <a:pt x="7618637" y="2408218"/>
                  </a:lnTo>
                  <a:lnTo>
                    <a:pt x="8189569" y="2408218"/>
                  </a:lnTo>
                  <a:lnTo>
                    <a:pt x="8475063" y="1913631"/>
                  </a:lnTo>
                  <a:lnTo>
                    <a:pt x="9045830" y="1913631"/>
                  </a:lnTo>
                  <a:lnTo>
                    <a:pt x="9331379" y="1419100"/>
                  </a:lnTo>
                  <a:lnTo>
                    <a:pt x="9902145" y="1419100"/>
                  </a:lnTo>
                  <a:lnTo>
                    <a:pt x="10187584" y="924680"/>
                  </a:lnTo>
                  <a:lnTo>
                    <a:pt x="10758184" y="924680"/>
                  </a:lnTo>
                  <a:lnTo>
                    <a:pt x="11043511" y="430537"/>
                  </a:lnTo>
                  <a:lnTo>
                    <a:pt x="11614444" y="430537"/>
                  </a:lnTo>
                  <a:close/>
                </a:path>
              </a:pathLst>
            </a:custGeom>
            <a:solidFill>
              <a:schemeClr val="accent5">
                <a:alpha val="2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9" name="Picture 19" descr="Gavi-logo - The Rockefeller Foundation">
            <a:extLst>
              <a:ext uri="{FF2B5EF4-FFF2-40B4-BE49-F238E27FC236}">
                <a16:creationId xmlns:a16="http://schemas.microsoft.com/office/drawing/2014/main" id="{91670609-4AC7-4755-883F-480F58726A64}"/>
              </a:ext>
            </a:extLst>
          </p:cNvPr>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r="-945"/>
          <a:stretch/>
        </p:blipFill>
        <p:spPr bwMode="ltGray">
          <a:xfrm>
            <a:off x="525802" y="2586861"/>
            <a:ext cx="1525462" cy="566694"/>
          </a:xfrm>
          <a:prstGeom prst="rect">
            <a:avLst/>
          </a:prstGeom>
          <a:extLst>
            <a:ext uri="{909E8E84-426E-40DD-AFC4-6F175D3DCCD1}">
              <a14:hiddenFill xmlns:a14="http://schemas.microsoft.com/office/drawing/2010/main">
                <a:solidFill>
                  <a:srgbClr val="FFFFFF"/>
                </a:solidFill>
              </a14:hiddenFill>
            </a:ext>
          </a:extLst>
        </p:spPr>
      </p:pic>
      <p:pic>
        <p:nvPicPr>
          <p:cNvPr id="21" name="Picture 20" descr="World Health Organization (WHO) – Logos Download">
            <a:extLst>
              <a:ext uri="{FF2B5EF4-FFF2-40B4-BE49-F238E27FC236}">
                <a16:creationId xmlns:a16="http://schemas.microsoft.com/office/drawing/2014/main" id="{1BB7E67F-B980-424D-BC88-EA4118E7E985}"/>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ltGray">
          <a:xfrm>
            <a:off x="2533703" y="2578553"/>
            <a:ext cx="2135706" cy="630143"/>
          </a:xfrm>
          <a:prstGeom prst="rect">
            <a:avLst/>
          </a:prstGeom>
          <a:extLst>
            <a:ext uri="{909E8E84-426E-40DD-AFC4-6F175D3DCCD1}">
              <a14:hiddenFill xmlns:a14="http://schemas.microsoft.com/office/drawing/2010/main">
                <a:solidFill>
                  <a:srgbClr val="FFFFFF"/>
                </a:solidFill>
              </a14:hiddenFill>
            </a:ext>
          </a:extLst>
        </p:spPr>
      </p:pic>
      <p:pic>
        <p:nvPicPr>
          <p:cNvPr id="22" name="Picture 23" descr="Coalition for Epidemic Preparedness Innovations - Wikiwand">
            <a:extLst>
              <a:ext uri="{FF2B5EF4-FFF2-40B4-BE49-F238E27FC236}">
                <a16:creationId xmlns:a16="http://schemas.microsoft.com/office/drawing/2014/main" id="{C31E93E6-D8A7-4DA5-A473-05691AC87B5D}"/>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ltGray">
          <a:xfrm>
            <a:off x="525802" y="1783462"/>
            <a:ext cx="1354280" cy="398160"/>
          </a:xfrm>
          <a:prstGeom prst="rect">
            <a:avLst/>
          </a:prstGeom>
          <a:extLst>
            <a:ext uri="{909E8E84-426E-40DD-AFC4-6F175D3DCCD1}">
              <a14:hiddenFill xmlns:a14="http://schemas.microsoft.com/office/drawing/2010/main">
                <a:solidFill>
                  <a:srgbClr val="FFFFFF"/>
                </a:solidFill>
              </a14:hiddenFill>
            </a:ext>
          </a:extLst>
        </p:spPr>
      </p:pic>
      <p:sp>
        <p:nvSpPr>
          <p:cNvPr id="23" name="Documenttype">
            <a:extLst>
              <a:ext uri="{FF2B5EF4-FFF2-40B4-BE49-F238E27FC236}">
                <a16:creationId xmlns:a16="http://schemas.microsoft.com/office/drawing/2014/main" id="{7D74A622-9FEC-47DB-8F82-F0FB23E22767}"/>
              </a:ext>
            </a:extLst>
          </p:cNvPr>
          <p:cNvSpPr>
            <a:spLocks noGrp="1"/>
          </p:cNvSpPr>
          <p:nvPr>
            <p:ph type="body" sz="quarter" idx="13" hasCustomPrompt="1"/>
            <p:custDataLst>
              <p:tags r:id="rId4"/>
            </p:custDataLst>
          </p:nvPr>
        </p:nvSpPr>
        <p:spPr>
          <a:xfrm>
            <a:off x="525802" y="6312004"/>
            <a:ext cx="66031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24" name="Subtitle">
            <a:extLst>
              <a:ext uri="{FF2B5EF4-FFF2-40B4-BE49-F238E27FC236}">
                <a16:creationId xmlns:a16="http://schemas.microsoft.com/office/drawing/2014/main" id="{D05A6F9C-2B50-4D01-8CEE-A681E5B79C2D}"/>
              </a:ext>
            </a:extLst>
          </p:cNvPr>
          <p:cNvSpPr>
            <a:spLocks noGrp="1"/>
          </p:cNvSpPr>
          <p:nvPr>
            <p:ph type="subTitle" idx="1"/>
            <p:custDataLst>
              <p:tags r:id="rId5"/>
            </p:custDataLst>
          </p:nvPr>
        </p:nvSpPr>
        <p:spPr>
          <a:xfrm>
            <a:off x="525802" y="5901632"/>
            <a:ext cx="66031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endParaRPr lang="en-US" dirty="0"/>
          </a:p>
        </p:txBody>
      </p:sp>
      <p:sp>
        <p:nvSpPr>
          <p:cNvPr id="25" name="Title">
            <a:extLst>
              <a:ext uri="{FF2B5EF4-FFF2-40B4-BE49-F238E27FC236}">
                <a16:creationId xmlns:a16="http://schemas.microsoft.com/office/drawing/2014/main" id="{4A0C779C-C2FF-4A27-A2DA-A54B7440BBDE}"/>
              </a:ext>
            </a:extLst>
          </p:cNvPr>
          <p:cNvSpPr>
            <a:spLocks noGrp="1"/>
          </p:cNvSpPr>
          <p:nvPr>
            <p:ph type="title"/>
            <p:custDataLst>
              <p:tags r:id="rId6"/>
            </p:custDataLst>
          </p:nvPr>
        </p:nvSpPr>
        <p:spPr>
          <a:xfrm>
            <a:off x="525802" y="3952377"/>
            <a:ext cx="6603131"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4156643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4005122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63"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ED3A330D-704F-4050-81F6-50A136E7860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572142"/>
            <a:ext cx="11082528" cy="276999"/>
          </a:xfrm>
          <a:prstGeom prst="rect">
            <a:avLst/>
          </a:prstGeom>
        </p:spPr>
        <p:txBody>
          <a:bodyPr vert="horz" wrap="square" lIns="0" tIns="0" rIns="0" bIns="0" rtlCol="0">
            <a:noAutofit/>
          </a:bodyPr>
          <a:lstStyle>
            <a:lvl1pPr>
              <a:defRPr lang="en-US" sz="1800" b="0" dirty="0"/>
            </a:lvl1pPr>
          </a:lstStyle>
          <a:p>
            <a:pPr lvl="0">
              <a:buNone/>
            </a:pPr>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tx2"/>
                </a:solidFill>
                <a:cs typeface="Arial" panose="020B0604020202020204" pitchFamily="34" charset="0"/>
              </a:rPr>
              <a:pPr lvl="0" algn="ctr" defTabSz="610744" fontAlgn="auto">
                <a:spcBef>
                  <a:spcPts val="0"/>
                </a:spcBef>
                <a:spcAft>
                  <a:spcPts val="0"/>
                </a:spcAft>
              </a:pPr>
              <a:t>‹#›</a:t>
            </a:fld>
            <a:endParaRPr lang="en-US" sz="900" b="0" dirty="0">
              <a:solidFill>
                <a:schemeClr val="tx2"/>
              </a:solidFill>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2"/>
            </p:custDataLst>
            <p:extLst>
              <p:ext uri="{D42A27DB-BD31-4B8C-83A1-F6EECF244321}">
                <p14:modId xmlns:p14="http://schemas.microsoft.com/office/powerpoint/2010/main" val="1725021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7819"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tx2"/>
                </a:solidFill>
                <a:cs typeface="Arial" panose="020B0604020202020204" pitchFamily="34" charset="0"/>
              </a:rPr>
              <a:pPr lvl="0" algn="ctr" defTabSz="610744" fontAlgn="auto">
                <a:spcBef>
                  <a:spcPts val="0"/>
                </a:spcBef>
                <a:spcAft>
                  <a:spcPts val="0"/>
                </a:spcAft>
              </a:pPr>
              <a:t>‹#›</a:t>
            </a:fld>
            <a:endParaRPr lang="en-US" sz="900" b="0" dirty="0">
              <a:solidFill>
                <a:schemeClr val="tx2"/>
              </a:solidFill>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9219664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2"/>
            </p:custDataLst>
            <p:extLst>
              <p:ext uri="{D42A27DB-BD31-4B8C-83A1-F6EECF244321}">
                <p14:modId xmlns:p14="http://schemas.microsoft.com/office/powerpoint/2010/main" val="88662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8843"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44334"/>
            <a:ext cx="5065776" cy="369332"/>
          </a:xfrm>
          <a:prstGeom prst="rect">
            <a:avLst/>
          </a:prstGeom>
        </p:spPr>
        <p:txBody>
          <a:bodyPr rIns="365760" anchor="ctr">
            <a:sp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tx2"/>
                </a:solidFill>
                <a:cs typeface="Arial" panose="020B0604020202020204" pitchFamily="34" charset="0"/>
              </a:rPr>
              <a:pPr lvl="0" algn="ctr" defTabSz="610744" fontAlgn="auto">
                <a:spcBef>
                  <a:spcPts val="0"/>
                </a:spcBef>
                <a:spcAft>
                  <a:spcPts val="0"/>
                </a:spcAft>
              </a:pPr>
              <a:t>‹#›</a:t>
            </a:fld>
            <a:endParaRPr lang="en-US" sz="900" b="0" dirty="0">
              <a:solidFill>
                <a:schemeClr val="tx2"/>
              </a:solidFill>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5282945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2"/>
            </p:custDataLst>
            <p:extLst>
              <p:ext uri="{D42A27DB-BD31-4B8C-83A1-F6EECF244321}">
                <p14:modId xmlns:p14="http://schemas.microsoft.com/office/powerpoint/2010/main" val="55039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9867"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tx2"/>
                </a:solidFill>
                <a:cs typeface="Arial" panose="020B0604020202020204" pitchFamily="34" charset="0"/>
              </a:rPr>
              <a:pPr lvl="0" algn="ctr" defTabSz="610744" fontAlgn="auto">
                <a:spcBef>
                  <a:spcPts val="0"/>
                </a:spcBef>
                <a:spcAft>
                  <a:spcPts val="0"/>
                </a:spcAft>
              </a:pPr>
              <a:t>‹#›</a:t>
            </a:fld>
            <a:endParaRPr lang="en-US" sz="900" b="0" dirty="0">
              <a:solidFill>
                <a:schemeClr val="tx2"/>
              </a:solidFill>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7750153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2"/>
            </p:custDataLst>
            <p:extLst>
              <p:ext uri="{D42A27DB-BD31-4B8C-83A1-F6EECF244321}">
                <p14:modId xmlns:p14="http://schemas.microsoft.com/office/powerpoint/2010/main" val="2895183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0652" name="think-cell Slide" r:id="rId10" imgW="592" imgH="591" progId="TCLayout.ActiveDocument.1">
                  <p:embed/>
                </p:oleObj>
              </mc:Choice>
              <mc:Fallback>
                <p:oleObj name="think-cell Slide" r:id="rId10" imgW="592" imgH="591"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tx2"/>
                </a:solidFill>
                <a:cs typeface="Arial" panose="020B0604020202020204" pitchFamily="34" charset="0"/>
              </a:rPr>
              <a:pPr lvl="0" algn="ctr" defTabSz="610744" fontAlgn="auto">
                <a:spcBef>
                  <a:spcPts val="0"/>
                </a:spcBef>
                <a:spcAft>
                  <a:spcPts val="0"/>
                </a:spcAft>
              </a:pPr>
              <a:t>‹#›</a:t>
            </a:fld>
            <a:endParaRPr lang="en-US" sz="900" b="0" dirty="0">
              <a:solidFill>
                <a:schemeClr val="tx2"/>
              </a:solidFill>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3126788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2732900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2556" name="think-cell Slide" r:id="rId11" imgW="413" imgH="416" progId="TCLayout.ActiveDocument.1">
                  <p:embed/>
                </p:oleObj>
              </mc:Choice>
              <mc:Fallback>
                <p:oleObj name="think-cell Slide" r:id="rId11" imgW="413" imgH="41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anchor="b">
            <a:noAutofit/>
          </a:bodyPr>
          <a:lstStyle>
            <a:lvl1pPr>
              <a:defRPr>
                <a:solidFill>
                  <a:schemeClr val="bg1"/>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6"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tx2"/>
                </a:solidFill>
                <a:cs typeface="+mn-cs"/>
              </a:defRPr>
            </a:lvl1pPr>
          </a:lstStyle>
          <a:p>
            <a:pPr lvl="0">
              <a:buNone/>
            </a:pPr>
            <a:r>
              <a:rPr lang="en-US" dirty="0"/>
              <a:t>Add tracker</a:t>
            </a:r>
          </a:p>
        </p:txBody>
      </p:sp>
      <p:sp>
        <p:nvSpPr>
          <p:cNvPr id="11" name="Oval 10">
            <a:extLst>
              <a:ext uri="{FF2B5EF4-FFF2-40B4-BE49-F238E27FC236}">
                <a16:creationId xmlns:a16="http://schemas.microsoft.com/office/drawing/2014/main" id="{D4AFC4A7-CBA9-4D87-8438-95ED6B3C26BB}"/>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a:latin typeface="Georgia" panose="02040502050405020303" pitchFamily="18" charset="0"/>
              <a:sym typeface="Georgia" panose="02040502050405020303" pitchFamily="18"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tx2"/>
                </a:solidFill>
                <a:cs typeface="Arial" panose="020B0604020202020204" pitchFamily="34" charset="0"/>
              </a:rPr>
              <a:pPr lvl="0" algn="ctr" defTabSz="610744" fontAlgn="auto">
                <a:spcBef>
                  <a:spcPts val="0"/>
                </a:spcBef>
                <a:spcAft>
                  <a:spcPts val="0"/>
                </a:spcAft>
              </a:pPr>
              <a:t>‹#›</a:t>
            </a:fld>
            <a:endParaRPr lang="en-US" sz="900" b="0" dirty="0">
              <a:solidFill>
                <a:schemeClr val="tx2"/>
              </a:solidFill>
              <a:cs typeface="Arial" panose="020B0604020202020204" pitchFamily="34" charset="0"/>
            </a:endParaRPr>
          </a:p>
        </p:txBody>
      </p:sp>
    </p:spTree>
    <p:extLst>
      <p:ext uri="{BB962C8B-B14F-4D97-AF65-F5344CB8AC3E}">
        <p14:creationId xmlns:p14="http://schemas.microsoft.com/office/powerpoint/2010/main" val="19438077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2640307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765" name="think-cell Slide" r:id="rId11" imgW="413" imgH="416" progId="TCLayout.ActiveDocument.1">
                  <p:embed/>
                </p:oleObj>
              </mc:Choice>
              <mc:Fallback>
                <p:oleObj name="think-cell Slide" r:id="rId11" imgW="413" imgH="41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5" y="2744369"/>
            <a:ext cx="3465576" cy="769441"/>
          </a:xfrm>
          <a:prstGeom prst="rect">
            <a:avLst/>
          </a:prstGeom>
        </p:spPr>
        <p:txBody>
          <a:bodyPr wrap="square" anchor="b">
            <a:noAutofit/>
          </a:bodyPr>
          <a:lstStyle>
            <a:lvl1pPr algn="l">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a:defRPr lang="en-US" sz="800" b="0" dirty="0">
                <a:solidFill>
                  <a:schemeClr val="tx2"/>
                </a:solidFill>
                <a:cs typeface="+mn-cs"/>
              </a:defRPr>
            </a:lvl1pPr>
          </a:lstStyle>
          <a:p>
            <a:pPr lvl="0">
              <a:buNone/>
            </a:pPr>
            <a:r>
              <a:rPr lang="en-US" dirty="0"/>
              <a:t>Add tracker</a:t>
            </a:r>
          </a:p>
        </p:txBody>
      </p:sp>
      <p:sp>
        <p:nvSpPr>
          <p:cNvPr id="11" name="Oval 10">
            <a:extLst>
              <a:ext uri="{FF2B5EF4-FFF2-40B4-BE49-F238E27FC236}">
                <a16:creationId xmlns:a16="http://schemas.microsoft.com/office/drawing/2014/main" id="{5C166EA6-5E25-4151-837E-F75A70044612}"/>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a:latin typeface="Georgia" panose="02040502050405020303" pitchFamily="18" charset="0"/>
              <a:sym typeface="Georgia" panose="02040502050405020303" pitchFamily="18"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tx2"/>
                </a:solidFill>
                <a:cs typeface="Arial" panose="020B0604020202020204" pitchFamily="34" charset="0"/>
              </a:rPr>
              <a:pPr lvl="0" algn="ctr" defTabSz="610744" fontAlgn="auto">
                <a:spcBef>
                  <a:spcPts val="0"/>
                </a:spcBef>
                <a:spcAft>
                  <a:spcPts val="0"/>
                </a:spcAft>
              </a:pPr>
              <a:t>‹#›</a:t>
            </a:fld>
            <a:endParaRPr lang="en-US" sz="900" b="0" dirty="0">
              <a:solidFill>
                <a:schemeClr val="tx2"/>
              </a:solidFill>
              <a:cs typeface="Arial" panose="020B0604020202020204" pitchFamily="34" charset="0"/>
            </a:endParaRPr>
          </a:p>
        </p:txBody>
      </p:sp>
    </p:spTree>
    <p:extLst>
      <p:ext uri="{BB962C8B-B14F-4D97-AF65-F5344CB8AC3E}">
        <p14:creationId xmlns:p14="http://schemas.microsoft.com/office/powerpoint/2010/main" val="31287880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2"/>
            </p:custDataLst>
            <p:extLst>
              <p:ext uri="{D42A27DB-BD31-4B8C-83A1-F6EECF244321}">
                <p14:modId xmlns:p14="http://schemas.microsoft.com/office/powerpoint/2010/main" val="688076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1676" name="think-cell Slide" r:id="rId11" imgW="592" imgH="591" progId="TCLayout.ActiveDocument.1">
                  <p:embed/>
                </p:oleObj>
              </mc:Choice>
              <mc:Fallback>
                <p:oleObj name="think-cell Slide" r:id="rId11" imgW="592" imgH="591"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369332"/>
          </a:xfrm>
        </p:spPr>
        <p:txBody>
          <a:bodyPr>
            <a:spAutoFit/>
          </a:bodyPr>
          <a:lstStyle>
            <a:lvl1pPr>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572142"/>
            <a:ext cx="5065776" cy="276999"/>
          </a:xfrm>
          <a:prstGeom prst="rect">
            <a:avLst/>
          </a:prstGeom>
        </p:spPr>
        <p:txBody>
          <a:bodyPr wrap="square">
            <a:sp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2"/>
                </a:solidFill>
                <a:cs typeface="+mn-cs"/>
              </a:defRPr>
            </a:lvl1pPr>
          </a:lstStyle>
          <a:p>
            <a:pPr lvl="0">
              <a:buNone/>
            </a:pPr>
            <a:r>
              <a:rPr lang="en-US" dirty="0"/>
              <a:t>Add tracker</a:t>
            </a:r>
          </a:p>
        </p:txBody>
      </p:sp>
      <p:sp>
        <p:nvSpPr>
          <p:cNvPr id="11" name="Oval 10">
            <a:extLst>
              <a:ext uri="{FF2B5EF4-FFF2-40B4-BE49-F238E27FC236}">
                <a16:creationId xmlns:a16="http://schemas.microsoft.com/office/drawing/2014/main" id="{3D8492ED-2246-4637-A390-05F7DB9652B4}"/>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a:latin typeface="Georgia" panose="02040502050405020303" pitchFamily="18" charset="0"/>
              <a:sym typeface="Georgia" panose="02040502050405020303" pitchFamily="18"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tx2"/>
                </a:solidFill>
                <a:cs typeface="Arial" panose="020B0604020202020204" pitchFamily="34" charset="0"/>
              </a:rPr>
              <a:pPr lvl="0" algn="ctr" defTabSz="610744" fontAlgn="auto">
                <a:spcBef>
                  <a:spcPts val="0"/>
                </a:spcBef>
                <a:spcAft>
                  <a:spcPts val="0"/>
                </a:spcAft>
              </a:pPr>
              <a:t>‹#›</a:t>
            </a:fld>
            <a:endParaRPr lang="en-US" sz="900" b="0" dirty="0">
              <a:solidFill>
                <a:schemeClr val="tx2"/>
              </a:solidFill>
              <a:cs typeface="Arial" panose="020B0604020202020204" pitchFamily="34" charset="0"/>
            </a:endParaRPr>
          </a:p>
        </p:txBody>
      </p:sp>
    </p:spTree>
    <p:extLst>
      <p:ext uri="{BB962C8B-B14F-4D97-AF65-F5344CB8AC3E}">
        <p14:creationId xmlns:p14="http://schemas.microsoft.com/office/powerpoint/2010/main" val="12247193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079447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981" name="think-cell Slide" r:id="rId11" imgW="413" imgH="416" progId="TCLayout.ActiveDocument.1">
                  <p:embed/>
                </p:oleObj>
              </mc:Choice>
              <mc:Fallback>
                <p:oleObj name="think-cell Slide" r:id="rId11" imgW="413" imgH="41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369332"/>
          </a:xfrm>
        </p:spPr>
        <p:txBody>
          <a:bodyPr>
            <a:spAutoFit/>
          </a:bodyPr>
          <a:lstStyle>
            <a:lvl1pPr>
              <a:defRPr>
                <a:solidFill>
                  <a:schemeClr val="bg1"/>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572142"/>
            <a:ext cx="6967728" cy="276999"/>
          </a:xfrm>
          <a:prstGeom prst="rect">
            <a:avLst/>
          </a:prstGeom>
        </p:spPr>
        <p:txBody>
          <a:bodyPr wrap="square">
            <a:sp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554736" y="6498754"/>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2"/>
                </a:solidFill>
                <a:cs typeface="+mn-cs"/>
              </a:defRPr>
            </a:lvl1pPr>
          </a:lstStyle>
          <a:p>
            <a:pPr lvl="0">
              <a:buNone/>
            </a:pPr>
            <a:r>
              <a:rPr lang="en-US" dirty="0"/>
              <a:t>Add tracker</a:t>
            </a:r>
          </a:p>
        </p:txBody>
      </p:sp>
      <p:sp>
        <p:nvSpPr>
          <p:cNvPr id="11" name="Oval 10">
            <a:extLst>
              <a:ext uri="{FF2B5EF4-FFF2-40B4-BE49-F238E27FC236}">
                <a16:creationId xmlns:a16="http://schemas.microsoft.com/office/drawing/2014/main" id="{6A90FA49-CD3D-4B98-B8A0-2E42F6A508CF}"/>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a:latin typeface="Georgia" panose="02040502050405020303" pitchFamily="18" charset="0"/>
              <a:sym typeface="Georgia" panose="02040502050405020303" pitchFamily="18"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tx2"/>
                </a:solidFill>
                <a:cs typeface="Arial" panose="020B0604020202020204" pitchFamily="34" charset="0"/>
              </a:rPr>
              <a:pPr lvl="0" algn="ctr" defTabSz="610744" fontAlgn="auto">
                <a:spcBef>
                  <a:spcPts val="0"/>
                </a:spcBef>
                <a:spcAft>
                  <a:spcPts val="0"/>
                </a:spcAft>
              </a:pPr>
              <a:t>‹#›</a:t>
            </a:fld>
            <a:endParaRPr lang="en-US" sz="900" b="0" dirty="0">
              <a:solidFill>
                <a:schemeClr val="tx2"/>
              </a:solidFill>
              <a:cs typeface="Arial" panose="020B0604020202020204" pitchFamily="34" charset="0"/>
            </a:endParaRPr>
          </a:p>
        </p:txBody>
      </p:sp>
    </p:spTree>
    <p:extLst>
      <p:ext uri="{BB962C8B-B14F-4D97-AF65-F5344CB8AC3E}">
        <p14:creationId xmlns:p14="http://schemas.microsoft.com/office/powerpoint/2010/main" val="21695030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1073457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6660"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369332"/>
          </a:xfrm>
        </p:spPr>
        <p:txBody>
          <a:bodyPr>
            <a:spAutoFit/>
          </a:bodyPr>
          <a:lstStyle>
            <a:lvl1pPr>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572142"/>
            <a:ext cx="7918704" cy="276999"/>
          </a:xfrm>
          <a:prstGeom prst="rect">
            <a:avLst/>
          </a:prstGeom>
        </p:spPr>
        <p:txBody>
          <a:bodyPr wrap="square">
            <a:sp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2"/>
                </a:solidFill>
                <a:cs typeface="+mn-cs"/>
              </a:defRPr>
            </a:lvl1pPr>
          </a:lstStyle>
          <a:p>
            <a:pPr lvl="0">
              <a:buNone/>
            </a:pPr>
            <a:r>
              <a:rPr lang="en-US" dirty="0"/>
              <a:t>Add tracker</a:t>
            </a:r>
          </a:p>
        </p:txBody>
      </p:sp>
      <p:sp>
        <p:nvSpPr>
          <p:cNvPr id="11" name="Oval 10">
            <a:extLst>
              <a:ext uri="{FF2B5EF4-FFF2-40B4-BE49-F238E27FC236}">
                <a16:creationId xmlns:a16="http://schemas.microsoft.com/office/drawing/2014/main" id="{DC1B847F-A11D-4151-9866-F9B4B9A3C34F}"/>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a:latin typeface="Georgia" panose="02040502050405020303" pitchFamily="18" charset="0"/>
              <a:sym typeface="Georgia" panose="02040502050405020303" pitchFamily="18"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noProof="0" smtClean="0">
                <a:solidFill>
                  <a:schemeClr val="tx2"/>
                </a:solidFill>
                <a:cs typeface="Arial" panose="020B0604020202020204" pitchFamily="34" charset="0"/>
              </a:rPr>
              <a:pPr lvl="0" algn="ctr" defTabSz="610744" fontAlgn="auto">
                <a:spcBef>
                  <a:spcPts val="0"/>
                </a:spcBef>
                <a:spcAft>
                  <a:spcPts val="0"/>
                </a:spcAft>
              </a:pPr>
              <a:t>‹#›</a:t>
            </a:fld>
            <a:endParaRPr lang="en-US" sz="900" b="0" noProof="0" dirty="0">
              <a:solidFill>
                <a:schemeClr val="tx2"/>
              </a:solidFill>
              <a:cs typeface="Arial" panose="020B0604020202020204" pitchFamily="34" charset="0"/>
            </a:endParaRPr>
          </a:p>
        </p:txBody>
      </p:sp>
    </p:spTree>
    <p:extLst>
      <p:ext uri="{BB962C8B-B14F-4D97-AF65-F5344CB8AC3E}">
        <p14:creationId xmlns:p14="http://schemas.microsoft.com/office/powerpoint/2010/main" val="14130981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71089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9942"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2142"/>
            <a:ext cx="1108252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6082243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2"/>
            </p:custDataLst>
            <p:extLst>
              <p:ext uri="{D42A27DB-BD31-4B8C-83A1-F6EECF244321}">
                <p14:modId xmlns:p14="http://schemas.microsoft.com/office/powerpoint/2010/main" val="3703646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0891"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36933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Oval 10">
            <a:extLst>
              <a:ext uri="{FF2B5EF4-FFF2-40B4-BE49-F238E27FC236}">
                <a16:creationId xmlns:a16="http://schemas.microsoft.com/office/drawing/2014/main" id="{4C6088CA-F772-4B7C-8C2C-82C720809BFE}"/>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a:latin typeface="Georgia" panose="02040502050405020303" pitchFamily="18" charset="0"/>
              <a:sym typeface="Georgia" panose="02040502050405020303" pitchFamily="18"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7"/>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tx2"/>
                </a:solidFill>
                <a:cs typeface="Arial" panose="020B0604020202020204" pitchFamily="34" charset="0"/>
              </a:rPr>
              <a:pPr lvl="0" algn="ctr" defTabSz="610744" fontAlgn="auto">
                <a:spcBef>
                  <a:spcPts val="0"/>
                </a:spcBef>
                <a:spcAft>
                  <a:spcPts val="0"/>
                </a:spcAft>
              </a:pPr>
              <a:t>‹#›</a:t>
            </a:fld>
            <a:endParaRPr lang="en-US" sz="900" b="0" dirty="0">
              <a:solidFill>
                <a:schemeClr val="tx2"/>
              </a:solidFill>
              <a:cs typeface="Arial" panose="020B0604020202020204" pitchFamily="34" charset="0"/>
            </a:endParaRPr>
          </a:p>
        </p:txBody>
      </p:sp>
    </p:spTree>
    <p:extLst>
      <p:ext uri="{BB962C8B-B14F-4D97-AF65-F5344CB8AC3E}">
        <p14:creationId xmlns:p14="http://schemas.microsoft.com/office/powerpoint/2010/main" val="15464079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2"/>
            </p:custDataLst>
            <p:extLst>
              <p:ext uri="{D42A27DB-BD31-4B8C-83A1-F6EECF244321}">
                <p14:modId xmlns:p14="http://schemas.microsoft.com/office/powerpoint/2010/main" val="2524120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1915" name="think-cell Slide" r:id="rId7" imgW="592" imgH="591" progId="TCLayout.ActiveDocument.1">
                  <p:embed/>
                </p:oleObj>
              </mc:Choice>
              <mc:Fallback>
                <p:oleObj name="think-cell Slide" r:id="rId7" imgW="592" imgH="591"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Oval 7">
            <a:extLst>
              <a:ext uri="{FF2B5EF4-FFF2-40B4-BE49-F238E27FC236}">
                <a16:creationId xmlns:a16="http://schemas.microsoft.com/office/drawing/2014/main" id="{1527C4A5-CF2F-4953-9FD6-E2857B379FFD}"/>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a:latin typeface="Georgia" panose="02040502050405020303" pitchFamily="18" charset="0"/>
              <a:sym typeface="Georgia" panose="02040502050405020303" pitchFamily="18" charset="0"/>
            </a:endParaRP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tx2"/>
                </a:solidFill>
                <a:cs typeface="Arial" panose="020B0604020202020204" pitchFamily="34" charset="0"/>
              </a:rPr>
              <a:pPr lvl="0" algn="ctr" defTabSz="610744" fontAlgn="auto">
                <a:spcBef>
                  <a:spcPts val="0"/>
                </a:spcBef>
                <a:spcAft>
                  <a:spcPts val="0"/>
                </a:spcAft>
              </a:pPr>
              <a:t>‹#›</a:t>
            </a:fld>
            <a:endParaRPr lang="en-US" sz="900" b="0" dirty="0">
              <a:solidFill>
                <a:schemeClr val="tx2"/>
              </a:solidFill>
              <a:cs typeface="Arial" panose="020B0604020202020204" pitchFamily="34" charset="0"/>
            </a:endParaRPr>
          </a:p>
        </p:txBody>
      </p:sp>
    </p:spTree>
    <p:extLst>
      <p:ext uri="{BB962C8B-B14F-4D97-AF65-F5344CB8AC3E}">
        <p14:creationId xmlns:p14="http://schemas.microsoft.com/office/powerpoint/2010/main" val="3196490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2"/>
            </p:custDataLst>
            <p:extLst>
              <p:ext uri="{D42A27DB-BD31-4B8C-83A1-F6EECF244321}">
                <p14:modId xmlns:p14="http://schemas.microsoft.com/office/powerpoint/2010/main" val="2127139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62"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9" descr="Gavi-logo - The Rockefeller Foundation">
            <a:extLst>
              <a:ext uri="{FF2B5EF4-FFF2-40B4-BE49-F238E27FC236}">
                <a16:creationId xmlns:a16="http://schemas.microsoft.com/office/drawing/2014/main" id="{C9786BEA-06CF-48F5-A6AF-549FAA7183FE}"/>
              </a:ext>
            </a:extLst>
          </p:cNvPr>
          <p:cNvPicPr>
            <a:picLocks noChangeAspect="1" noChangeArrowheads="1"/>
          </p:cNvPicPr>
          <p:nvPr userDrawn="1"/>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92508" y="3092839"/>
            <a:ext cx="1792858" cy="672322"/>
          </a:xfrm>
          <a:prstGeom prst="rect">
            <a:avLst/>
          </a:prstGeom>
          <a:noFill/>
          <a:extLst>
            <a:ext uri="{909E8E84-426E-40DD-AFC4-6F175D3DCCD1}">
              <a14:hiddenFill xmlns:a14="http://schemas.microsoft.com/office/drawing/2010/main">
                <a:solidFill>
                  <a:srgbClr val="FFFFFF"/>
                </a:solidFill>
              </a14:hiddenFill>
            </a:ext>
          </a:extLst>
        </p:spPr>
      </p:pic>
      <p:sp>
        <p:nvSpPr>
          <p:cNvPr id="10" name="5. Source" hidden="1">
            <a:extLst>
              <a:ext uri="{FF2B5EF4-FFF2-40B4-BE49-F238E27FC236}">
                <a16:creationId xmlns:a16="http://schemas.microsoft.com/office/drawing/2014/main" id="{EED9D83D-9CC3-45F3-876D-CC42BC0B70E0}"/>
              </a:ext>
            </a:extLst>
          </p:cNvPr>
          <p:cNvSpPr txBox="1"/>
          <p:nvPr userDrawn="1">
            <p:custDataLst>
              <p:tags r:id="rId3"/>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6" name="Picture 19" descr="Gavi-logo - The Rockefeller Foundation">
            <a:extLst>
              <a:ext uri="{FF2B5EF4-FFF2-40B4-BE49-F238E27FC236}">
                <a16:creationId xmlns:a16="http://schemas.microsoft.com/office/drawing/2014/main" id="{1543EE4E-EAB2-48E0-98C7-1CDE1C0CCCEC}"/>
              </a:ext>
            </a:extLst>
          </p:cNvPr>
          <p:cNvPicPr>
            <a:picLocks noChangeAspect="1" noChangeArrowheads="1"/>
          </p:cNvPicPr>
          <p:nvPr userDrawn="1"/>
        </p:nvPicPr>
        <p:blipFill rotWithShape="1">
          <a:blip r:embed="rId9" cstate="print">
            <a:extLst>
              <a:ext uri="{28A0092B-C50C-407E-A947-70E740481C1C}">
                <a14:useLocalDpi xmlns:a14="http://schemas.microsoft.com/office/drawing/2010/main" val="0"/>
              </a:ext>
            </a:extLst>
          </a:blip>
          <a:srcRect l="61017"/>
          <a:stretch/>
        </p:blipFill>
        <p:spPr bwMode="auto">
          <a:xfrm>
            <a:off x="5886450" y="3092839"/>
            <a:ext cx="698916" cy="67232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World Health Organization (WHO) – Logos Download">
            <a:extLst>
              <a:ext uri="{FF2B5EF4-FFF2-40B4-BE49-F238E27FC236}">
                <a16:creationId xmlns:a16="http://schemas.microsoft.com/office/drawing/2014/main" id="{06238B73-8D67-4881-A186-5A67D0411CED}"/>
              </a:ext>
            </a:extLst>
          </p:cNvPr>
          <p:cNvPicPr>
            <a:picLocks noChangeAspect="1" noChangeArrowheads="1"/>
          </p:cNvPicPr>
          <p:nvPr userDrawn="1"/>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994557" y="3068149"/>
            <a:ext cx="2446020" cy="72170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3" descr="Coalition for Epidemic Preparedness Innovations - Wikiwand">
            <a:extLst>
              <a:ext uri="{FF2B5EF4-FFF2-40B4-BE49-F238E27FC236}">
                <a16:creationId xmlns:a16="http://schemas.microsoft.com/office/drawing/2014/main" id="{7852C685-149A-43D1-8B7E-790BE60CE4A6}"/>
              </a:ext>
            </a:extLst>
          </p:cNvPr>
          <p:cNvPicPr>
            <a:picLocks noChangeAspect="1" noChangeArrowheads="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751423" y="3189112"/>
            <a:ext cx="1631894" cy="4797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79002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91368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7441"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000" b="1" i="0" baseline="0" dirty="0" err="1">
              <a:solidFill>
                <a:schemeClr val="bg1"/>
              </a:solidFill>
              <a:latin typeface="Arial" panose="020B0604020202020204" pitchFamily="34" charset="0"/>
              <a:ea typeface="+mj-ea"/>
              <a:cs typeface="+mj-cs"/>
              <a:sym typeface="Arial" panose="020B0604020202020204" pitchFamily="34" charset="0"/>
            </a:endParaRPr>
          </a:p>
        </p:txBody>
      </p:sp>
      <p:grpSp>
        <p:nvGrpSpPr>
          <p:cNvPr id="14" name="Rectangle 1">
            <a:extLst>
              <a:ext uri="{FF2B5EF4-FFF2-40B4-BE49-F238E27FC236}">
                <a16:creationId xmlns:a16="http://schemas.microsoft.com/office/drawing/2014/main" id="{8463E31F-1059-439D-81D0-6D61D7EE8E0F}"/>
              </a:ext>
            </a:extLst>
          </p:cNvPr>
          <p:cNvGrpSpPr/>
          <p:nvPr userDrawn="1"/>
        </p:nvGrpSpPr>
        <p:grpSpPr bwMode="ltGray">
          <a:xfrm>
            <a:off x="0" y="0"/>
            <a:ext cx="12192000" cy="6858000"/>
            <a:chOff x="0" y="0"/>
            <a:chExt cx="12192000" cy="6858000"/>
          </a:xfrm>
        </p:grpSpPr>
        <p:sp>
          <p:nvSpPr>
            <p:cNvPr id="15" name="Rectangle 1">
              <a:extLst>
                <a:ext uri="{FF2B5EF4-FFF2-40B4-BE49-F238E27FC236}">
                  <a16:creationId xmlns:a16="http://schemas.microsoft.com/office/drawing/2014/main" id="{E12DE207-12CB-4F2F-B60B-B99BE889F95B}"/>
                </a:ext>
              </a:extLst>
            </p:cNvPr>
            <p:cNvSpPr/>
            <p:nvPr/>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sp>
          <p:nvSpPr>
            <p:cNvPr id="17" name="Freeform: Shape 16">
              <a:extLst>
                <a:ext uri="{FF2B5EF4-FFF2-40B4-BE49-F238E27FC236}">
                  <a16:creationId xmlns:a16="http://schemas.microsoft.com/office/drawing/2014/main" id="{9E3816EB-3EEB-4E3B-97BF-685C6980D507}"/>
                </a:ext>
              </a:extLst>
            </p:cNvPr>
            <p:cNvSpPr/>
            <p:nvPr/>
          </p:nvSpPr>
          <p:spPr bwMode="ltGray">
            <a:xfrm flipH="1">
              <a:off x="328939" y="0"/>
              <a:ext cx="11863054" cy="6858000"/>
            </a:xfrm>
            <a:custGeom>
              <a:avLst/>
              <a:gdLst>
                <a:gd name="connsiteX0" fmla="*/ 2186275 w 11863054"/>
                <a:gd name="connsiteY0" fmla="*/ 4880651 h 6858000"/>
                <a:gd name="connsiteX1" fmla="*/ 2466727 w 11863054"/>
                <a:gd name="connsiteY1" fmla="*/ 5366539 h 6858000"/>
                <a:gd name="connsiteX2" fmla="*/ 2186109 w 11863054"/>
                <a:gd name="connsiteY2" fmla="*/ 5852538 h 6858000"/>
                <a:gd name="connsiteX3" fmla="*/ 1624817 w 11863054"/>
                <a:gd name="connsiteY3" fmla="*/ 5852538 h 6858000"/>
                <a:gd name="connsiteX4" fmla="*/ 1344198 w 11863054"/>
                <a:gd name="connsiteY4" fmla="*/ 5366539 h 6858000"/>
                <a:gd name="connsiteX5" fmla="*/ 1624650 w 11863054"/>
                <a:gd name="connsiteY5" fmla="*/ 4880651 h 6858000"/>
                <a:gd name="connsiteX6" fmla="*/ 2185887 w 11863054"/>
                <a:gd name="connsiteY6" fmla="*/ 3891755 h 6858000"/>
                <a:gd name="connsiteX7" fmla="*/ 2466505 w 11863054"/>
                <a:gd name="connsiteY7" fmla="*/ 4377921 h 6858000"/>
                <a:gd name="connsiteX8" fmla="*/ 2186053 w 11863054"/>
                <a:gd name="connsiteY8" fmla="*/ 4863753 h 6858000"/>
                <a:gd name="connsiteX9" fmla="*/ 1624539 w 11863054"/>
                <a:gd name="connsiteY9" fmla="*/ 4863753 h 6858000"/>
                <a:gd name="connsiteX10" fmla="*/ 1343977 w 11863054"/>
                <a:gd name="connsiteY10" fmla="*/ 4377921 h 6858000"/>
                <a:gd name="connsiteX11" fmla="*/ 1624650 w 11863054"/>
                <a:gd name="connsiteY11" fmla="*/ 3891755 h 6858000"/>
                <a:gd name="connsiteX12" fmla="*/ 3898518 w 11863054"/>
                <a:gd name="connsiteY12" fmla="*/ 3891700 h 6858000"/>
                <a:gd name="connsiteX13" fmla="*/ 4179137 w 11863054"/>
                <a:gd name="connsiteY13" fmla="*/ 4377644 h 6858000"/>
                <a:gd name="connsiteX14" fmla="*/ 3898518 w 11863054"/>
                <a:gd name="connsiteY14" fmla="*/ 4863642 h 6858000"/>
                <a:gd name="connsiteX15" fmla="*/ 3337226 w 11863054"/>
                <a:gd name="connsiteY15" fmla="*/ 4863642 h 6858000"/>
                <a:gd name="connsiteX16" fmla="*/ 3056718 w 11863054"/>
                <a:gd name="connsiteY16" fmla="*/ 4377644 h 6858000"/>
                <a:gd name="connsiteX17" fmla="*/ 3337337 w 11863054"/>
                <a:gd name="connsiteY17" fmla="*/ 3891700 h 6858000"/>
                <a:gd name="connsiteX18" fmla="*/ 4755000 w 11863054"/>
                <a:gd name="connsiteY18" fmla="*/ 3397502 h 6858000"/>
                <a:gd name="connsiteX19" fmla="*/ 5035508 w 11863054"/>
                <a:gd name="connsiteY19" fmla="*/ 3883389 h 6858000"/>
                <a:gd name="connsiteX20" fmla="*/ 4754778 w 11863054"/>
                <a:gd name="connsiteY20" fmla="*/ 4369444 h 6858000"/>
                <a:gd name="connsiteX21" fmla="*/ 4193652 w 11863054"/>
                <a:gd name="connsiteY21" fmla="*/ 4369444 h 6858000"/>
                <a:gd name="connsiteX22" fmla="*/ 3912978 w 11863054"/>
                <a:gd name="connsiteY22" fmla="*/ 3883223 h 6858000"/>
                <a:gd name="connsiteX23" fmla="*/ 4193541 w 11863054"/>
                <a:gd name="connsiteY23" fmla="*/ 3397502 h 6858000"/>
                <a:gd name="connsiteX24" fmla="*/ 3042147 w 11863054"/>
                <a:gd name="connsiteY24" fmla="*/ 3397391 h 6858000"/>
                <a:gd name="connsiteX25" fmla="*/ 3322710 w 11863054"/>
                <a:gd name="connsiteY25" fmla="*/ 3883389 h 6858000"/>
                <a:gd name="connsiteX26" fmla="*/ 3042147 w 11863054"/>
                <a:gd name="connsiteY26" fmla="*/ 4369444 h 6858000"/>
                <a:gd name="connsiteX27" fmla="*/ 2480966 w 11863054"/>
                <a:gd name="connsiteY27" fmla="*/ 4369444 h 6858000"/>
                <a:gd name="connsiteX28" fmla="*/ 2200292 w 11863054"/>
                <a:gd name="connsiteY28" fmla="*/ 3883389 h 6858000"/>
                <a:gd name="connsiteX29" fmla="*/ 2480911 w 11863054"/>
                <a:gd name="connsiteY29" fmla="*/ 3397391 h 6858000"/>
                <a:gd name="connsiteX30" fmla="*/ 3898186 w 11863054"/>
                <a:gd name="connsiteY30" fmla="*/ 2902970 h 6858000"/>
                <a:gd name="connsiteX31" fmla="*/ 4178860 w 11863054"/>
                <a:gd name="connsiteY31" fmla="*/ 3389136 h 6858000"/>
                <a:gd name="connsiteX32" fmla="*/ 3898463 w 11863054"/>
                <a:gd name="connsiteY32" fmla="*/ 3874857 h 6858000"/>
                <a:gd name="connsiteX33" fmla="*/ 3337115 w 11863054"/>
                <a:gd name="connsiteY33" fmla="*/ 3874857 h 6858000"/>
                <a:gd name="connsiteX34" fmla="*/ 3056607 w 11863054"/>
                <a:gd name="connsiteY34" fmla="*/ 3388969 h 6858000"/>
                <a:gd name="connsiteX35" fmla="*/ 3337115 w 11863054"/>
                <a:gd name="connsiteY35" fmla="*/ 2902970 h 6858000"/>
                <a:gd name="connsiteX36" fmla="*/ 5611205 w 11863054"/>
                <a:gd name="connsiteY36" fmla="*/ 2902915 h 6858000"/>
                <a:gd name="connsiteX37" fmla="*/ 5891712 w 11863054"/>
                <a:gd name="connsiteY37" fmla="*/ 3388748 h 6858000"/>
                <a:gd name="connsiteX38" fmla="*/ 5611149 w 11863054"/>
                <a:gd name="connsiteY38" fmla="*/ 3874857 h 6858000"/>
                <a:gd name="connsiteX39" fmla="*/ 5049857 w 11863054"/>
                <a:gd name="connsiteY39" fmla="*/ 3874857 h 6858000"/>
                <a:gd name="connsiteX40" fmla="*/ 4769239 w 11863054"/>
                <a:gd name="connsiteY40" fmla="*/ 3388969 h 6858000"/>
                <a:gd name="connsiteX41" fmla="*/ 5049857 w 11863054"/>
                <a:gd name="connsiteY41" fmla="*/ 2902915 h 6858000"/>
                <a:gd name="connsiteX42" fmla="*/ 1329350 w 11863054"/>
                <a:gd name="connsiteY42" fmla="*/ 2409215 h 6858000"/>
                <a:gd name="connsiteX43" fmla="*/ 1609968 w 11863054"/>
                <a:gd name="connsiteY43" fmla="*/ 2895269 h 6858000"/>
                <a:gd name="connsiteX44" fmla="*/ 1329350 w 11863054"/>
                <a:gd name="connsiteY44" fmla="*/ 3381379 h 6858000"/>
                <a:gd name="connsiteX45" fmla="*/ 768224 w 11863054"/>
                <a:gd name="connsiteY45" fmla="*/ 3381379 h 6858000"/>
                <a:gd name="connsiteX46" fmla="*/ 487716 w 11863054"/>
                <a:gd name="connsiteY46" fmla="*/ 2895546 h 6858000"/>
                <a:gd name="connsiteX47" fmla="*/ 768501 w 11863054"/>
                <a:gd name="connsiteY47" fmla="*/ 2409215 h 6858000"/>
                <a:gd name="connsiteX48" fmla="*/ 3041981 w 11863054"/>
                <a:gd name="connsiteY48" fmla="*/ 2408883 h 6858000"/>
                <a:gd name="connsiteX49" fmla="*/ 3322599 w 11863054"/>
                <a:gd name="connsiteY49" fmla="*/ 2894826 h 6858000"/>
                <a:gd name="connsiteX50" fmla="*/ 3042092 w 11863054"/>
                <a:gd name="connsiteY50" fmla="*/ 3380714 h 6858000"/>
                <a:gd name="connsiteX51" fmla="*/ 2480855 w 11863054"/>
                <a:gd name="connsiteY51" fmla="*/ 3380714 h 6858000"/>
                <a:gd name="connsiteX52" fmla="*/ 2200126 w 11863054"/>
                <a:gd name="connsiteY52" fmla="*/ 2894715 h 6858000"/>
                <a:gd name="connsiteX53" fmla="*/ 2480689 w 11863054"/>
                <a:gd name="connsiteY53" fmla="*/ 2408883 h 6858000"/>
                <a:gd name="connsiteX54" fmla="*/ 4754612 w 11863054"/>
                <a:gd name="connsiteY54" fmla="*/ 2408827 h 6858000"/>
                <a:gd name="connsiteX55" fmla="*/ 5035231 w 11863054"/>
                <a:gd name="connsiteY55" fmla="*/ 2894715 h 6858000"/>
                <a:gd name="connsiteX56" fmla="*/ 4754612 w 11863054"/>
                <a:gd name="connsiteY56" fmla="*/ 3380714 h 6858000"/>
                <a:gd name="connsiteX57" fmla="*/ 4193375 w 11863054"/>
                <a:gd name="connsiteY57" fmla="*/ 3380714 h 6858000"/>
                <a:gd name="connsiteX58" fmla="*/ 3912757 w 11863054"/>
                <a:gd name="connsiteY58" fmla="*/ 2894715 h 6858000"/>
                <a:gd name="connsiteX59" fmla="*/ 4193320 w 11863054"/>
                <a:gd name="connsiteY59" fmla="*/ 2408827 h 6858000"/>
                <a:gd name="connsiteX60" fmla="*/ 6467576 w 11863054"/>
                <a:gd name="connsiteY60" fmla="*/ 2408384 h 6858000"/>
                <a:gd name="connsiteX61" fmla="*/ 6748083 w 11863054"/>
                <a:gd name="connsiteY61" fmla="*/ 2894217 h 6858000"/>
                <a:gd name="connsiteX62" fmla="*/ 6467409 w 11863054"/>
                <a:gd name="connsiteY62" fmla="*/ 3380326 h 6858000"/>
                <a:gd name="connsiteX63" fmla="*/ 5906173 w 11863054"/>
                <a:gd name="connsiteY63" fmla="*/ 3380326 h 6858000"/>
                <a:gd name="connsiteX64" fmla="*/ 5625554 w 11863054"/>
                <a:gd name="connsiteY64" fmla="*/ 2894272 h 6858000"/>
                <a:gd name="connsiteX65" fmla="*/ 5906006 w 11863054"/>
                <a:gd name="connsiteY65" fmla="*/ 2408384 h 6858000"/>
                <a:gd name="connsiteX66" fmla="*/ 2185610 w 11863054"/>
                <a:gd name="connsiteY66" fmla="*/ 1914628 h 6858000"/>
                <a:gd name="connsiteX67" fmla="*/ 2466229 w 11863054"/>
                <a:gd name="connsiteY67" fmla="*/ 2400572 h 6858000"/>
                <a:gd name="connsiteX68" fmla="*/ 2423402 w 11863054"/>
                <a:gd name="connsiteY68" fmla="*/ 2474702 h 6858000"/>
                <a:gd name="connsiteX69" fmla="*/ 2185555 w 11863054"/>
                <a:gd name="connsiteY69" fmla="*/ 2886737 h 6858000"/>
                <a:gd name="connsiteX70" fmla="*/ 1624318 w 11863054"/>
                <a:gd name="connsiteY70" fmla="*/ 2886737 h 6858000"/>
                <a:gd name="connsiteX71" fmla="*/ 1344087 w 11863054"/>
                <a:gd name="connsiteY71" fmla="*/ 2401292 h 6858000"/>
                <a:gd name="connsiteX72" fmla="*/ 1625093 w 11863054"/>
                <a:gd name="connsiteY72" fmla="*/ 1914628 h 6858000"/>
                <a:gd name="connsiteX73" fmla="*/ 3898186 w 11863054"/>
                <a:gd name="connsiteY73" fmla="*/ 1914462 h 6858000"/>
                <a:gd name="connsiteX74" fmla="*/ 4178804 w 11863054"/>
                <a:gd name="connsiteY74" fmla="*/ 2400461 h 6858000"/>
                <a:gd name="connsiteX75" fmla="*/ 3898241 w 11863054"/>
                <a:gd name="connsiteY75" fmla="*/ 2886349 h 6858000"/>
                <a:gd name="connsiteX76" fmla="*/ 3337115 w 11863054"/>
                <a:gd name="connsiteY76" fmla="*/ 2886349 h 6858000"/>
                <a:gd name="connsiteX77" fmla="*/ 3056441 w 11863054"/>
                <a:gd name="connsiteY77" fmla="*/ 2400295 h 6858000"/>
                <a:gd name="connsiteX78" fmla="*/ 3336949 w 11863054"/>
                <a:gd name="connsiteY78" fmla="*/ 1914462 h 6858000"/>
                <a:gd name="connsiteX79" fmla="*/ 5610872 w 11863054"/>
                <a:gd name="connsiteY79" fmla="*/ 1914185 h 6858000"/>
                <a:gd name="connsiteX80" fmla="*/ 5891491 w 11863054"/>
                <a:gd name="connsiteY80" fmla="*/ 2400240 h 6858000"/>
                <a:gd name="connsiteX81" fmla="*/ 5610983 w 11863054"/>
                <a:gd name="connsiteY81" fmla="*/ 2886072 h 6858000"/>
                <a:gd name="connsiteX82" fmla="*/ 5049469 w 11863054"/>
                <a:gd name="connsiteY82" fmla="*/ 2886072 h 6858000"/>
                <a:gd name="connsiteX83" fmla="*/ 4768962 w 11863054"/>
                <a:gd name="connsiteY83" fmla="*/ 2400295 h 6858000"/>
                <a:gd name="connsiteX84" fmla="*/ 5049635 w 11863054"/>
                <a:gd name="connsiteY84" fmla="*/ 1914185 h 6858000"/>
                <a:gd name="connsiteX85" fmla="*/ 7323669 w 11863054"/>
                <a:gd name="connsiteY85" fmla="*/ 1913853 h 6858000"/>
                <a:gd name="connsiteX86" fmla="*/ 7604232 w 11863054"/>
                <a:gd name="connsiteY86" fmla="*/ 2399852 h 6858000"/>
                <a:gd name="connsiteX87" fmla="*/ 7323669 w 11863054"/>
                <a:gd name="connsiteY87" fmla="*/ 2885740 h 6858000"/>
                <a:gd name="connsiteX88" fmla="*/ 6762377 w 11863054"/>
                <a:gd name="connsiteY88" fmla="*/ 2885740 h 6858000"/>
                <a:gd name="connsiteX89" fmla="*/ 6481870 w 11863054"/>
                <a:gd name="connsiteY89" fmla="*/ 2399741 h 6858000"/>
                <a:gd name="connsiteX90" fmla="*/ 6762322 w 11863054"/>
                <a:gd name="connsiteY90" fmla="*/ 1913853 h 6858000"/>
                <a:gd name="connsiteX91" fmla="*/ 1330015 w 11863054"/>
                <a:gd name="connsiteY91" fmla="*/ 1420652 h 6858000"/>
                <a:gd name="connsiteX92" fmla="*/ 1610135 w 11863054"/>
                <a:gd name="connsiteY92" fmla="*/ 1905930 h 6858000"/>
                <a:gd name="connsiteX93" fmla="*/ 1329073 w 11863054"/>
                <a:gd name="connsiteY93" fmla="*/ 2392594 h 6858000"/>
                <a:gd name="connsiteX94" fmla="*/ 768723 w 11863054"/>
                <a:gd name="connsiteY94" fmla="*/ 2392594 h 6858000"/>
                <a:gd name="connsiteX95" fmla="*/ 487993 w 11863054"/>
                <a:gd name="connsiteY95" fmla="*/ 1906429 h 6858000"/>
                <a:gd name="connsiteX96" fmla="*/ 768446 w 11863054"/>
                <a:gd name="connsiteY96" fmla="*/ 1420652 h 6858000"/>
                <a:gd name="connsiteX97" fmla="*/ 4754612 w 11863054"/>
                <a:gd name="connsiteY97" fmla="*/ 1420208 h 6858000"/>
                <a:gd name="connsiteX98" fmla="*/ 5035175 w 11863054"/>
                <a:gd name="connsiteY98" fmla="*/ 1906096 h 6858000"/>
                <a:gd name="connsiteX99" fmla="*/ 4754391 w 11863054"/>
                <a:gd name="connsiteY99" fmla="*/ 2392151 h 6858000"/>
                <a:gd name="connsiteX100" fmla="*/ 4193375 w 11863054"/>
                <a:gd name="connsiteY100" fmla="*/ 2392151 h 6858000"/>
                <a:gd name="connsiteX101" fmla="*/ 3912646 w 11863054"/>
                <a:gd name="connsiteY101" fmla="*/ 1905986 h 6858000"/>
                <a:gd name="connsiteX102" fmla="*/ 4193098 w 11863054"/>
                <a:gd name="connsiteY102" fmla="*/ 1420208 h 6858000"/>
                <a:gd name="connsiteX103" fmla="*/ 3041704 w 11863054"/>
                <a:gd name="connsiteY103" fmla="*/ 1420097 h 6858000"/>
                <a:gd name="connsiteX104" fmla="*/ 3322322 w 11863054"/>
                <a:gd name="connsiteY104" fmla="*/ 1906207 h 6858000"/>
                <a:gd name="connsiteX105" fmla="*/ 3041925 w 11863054"/>
                <a:gd name="connsiteY105" fmla="*/ 2391985 h 6858000"/>
                <a:gd name="connsiteX106" fmla="*/ 2480523 w 11863054"/>
                <a:gd name="connsiteY106" fmla="*/ 2391985 h 6858000"/>
                <a:gd name="connsiteX107" fmla="*/ 2200347 w 11863054"/>
                <a:gd name="connsiteY107" fmla="*/ 1906706 h 6858000"/>
                <a:gd name="connsiteX108" fmla="*/ 2481187 w 11863054"/>
                <a:gd name="connsiteY108" fmla="*/ 1420097 h 6858000"/>
                <a:gd name="connsiteX109" fmla="*/ 6467243 w 11863054"/>
                <a:gd name="connsiteY109" fmla="*/ 1419654 h 6858000"/>
                <a:gd name="connsiteX110" fmla="*/ 6747862 w 11863054"/>
                <a:gd name="connsiteY110" fmla="*/ 1905597 h 6858000"/>
                <a:gd name="connsiteX111" fmla="*/ 6467409 w 11863054"/>
                <a:gd name="connsiteY111" fmla="*/ 2391486 h 6858000"/>
                <a:gd name="connsiteX112" fmla="*/ 5905785 w 11863054"/>
                <a:gd name="connsiteY112" fmla="*/ 2391486 h 6858000"/>
                <a:gd name="connsiteX113" fmla="*/ 5625333 w 11863054"/>
                <a:gd name="connsiteY113" fmla="*/ 1905708 h 6858000"/>
                <a:gd name="connsiteX114" fmla="*/ 5735696 w 11863054"/>
                <a:gd name="connsiteY114" fmla="*/ 1714456 h 6858000"/>
                <a:gd name="connsiteX115" fmla="*/ 5905950 w 11863054"/>
                <a:gd name="connsiteY115" fmla="*/ 1419654 h 6858000"/>
                <a:gd name="connsiteX116" fmla="*/ 8180151 w 11863054"/>
                <a:gd name="connsiteY116" fmla="*/ 1419654 h 6858000"/>
                <a:gd name="connsiteX117" fmla="*/ 8460603 w 11863054"/>
                <a:gd name="connsiteY117" fmla="*/ 1905487 h 6858000"/>
                <a:gd name="connsiteX118" fmla="*/ 8179984 w 11863054"/>
                <a:gd name="connsiteY118" fmla="*/ 2391652 h 6858000"/>
                <a:gd name="connsiteX119" fmla="*/ 7618914 w 11863054"/>
                <a:gd name="connsiteY119" fmla="*/ 2391652 h 6858000"/>
                <a:gd name="connsiteX120" fmla="*/ 7338130 w 11863054"/>
                <a:gd name="connsiteY120" fmla="*/ 1905432 h 6858000"/>
                <a:gd name="connsiteX121" fmla="*/ 7618582 w 11863054"/>
                <a:gd name="connsiteY121" fmla="*/ 1419654 h 6858000"/>
                <a:gd name="connsiteX122" fmla="*/ 2186164 w 11863054"/>
                <a:gd name="connsiteY122" fmla="*/ 926120 h 6858000"/>
                <a:gd name="connsiteX123" fmla="*/ 2466395 w 11863054"/>
                <a:gd name="connsiteY123" fmla="*/ 1411344 h 6858000"/>
                <a:gd name="connsiteX124" fmla="*/ 2185555 w 11863054"/>
                <a:gd name="connsiteY124" fmla="*/ 1897952 h 6858000"/>
                <a:gd name="connsiteX125" fmla="*/ 1624817 w 11863054"/>
                <a:gd name="connsiteY125" fmla="*/ 1897952 h 6858000"/>
                <a:gd name="connsiteX126" fmla="*/ 1344253 w 11863054"/>
                <a:gd name="connsiteY126" fmla="*/ 1412064 h 6858000"/>
                <a:gd name="connsiteX127" fmla="*/ 1624817 w 11863054"/>
                <a:gd name="connsiteY127" fmla="*/ 926120 h 6858000"/>
                <a:gd name="connsiteX128" fmla="*/ 3897853 w 11863054"/>
                <a:gd name="connsiteY128" fmla="*/ 925677 h 6858000"/>
                <a:gd name="connsiteX129" fmla="*/ 4178583 w 11863054"/>
                <a:gd name="connsiteY129" fmla="*/ 1411842 h 6858000"/>
                <a:gd name="connsiteX130" fmla="*/ 3898186 w 11863054"/>
                <a:gd name="connsiteY130" fmla="*/ 1897620 h 6858000"/>
                <a:gd name="connsiteX131" fmla="*/ 3336838 w 11863054"/>
                <a:gd name="connsiteY131" fmla="*/ 1897620 h 6858000"/>
                <a:gd name="connsiteX132" fmla="*/ 3056607 w 11863054"/>
                <a:gd name="connsiteY132" fmla="*/ 1412174 h 6858000"/>
                <a:gd name="connsiteX133" fmla="*/ 3337503 w 11863054"/>
                <a:gd name="connsiteY133" fmla="*/ 925677 h 6858000"/>
                <a:gd name="connsiteX134" fmla="*/ 5610872 w 11863054"/>
                <a:gd name="connsiteY134" fmla="*/ 925622 h 6858000"/>
                <a:gd name="connsiteX135" fmla="*/ 5891380 w 11863054"/>
                <a:gd name="connsiteY135" fmla="*/ 1411455 h 6858000"/>
                <a:gd name="connsiteX136" fmla="*/ 5710376 w 11863054"/>
                <a:gd name="connsiteY136" fmla="*/ 1725093 h 6858000"/>
                <a:gd name="connsiteX137" fmla="*/ 5610761 w 11863054"/>
                <a:gd name="connsiteY137" fmla="*/ 1897453 h 6858000"/>
                <a:gd name="connsiteX138" fmla="*/ 5049414 w 11863054"/>
                <a:gd name="connsiteY138" fmla="*/ 1897453 h 6858000"/>
                <a:gd name="connsiteX139" fmla="*/ 4768851 w 11863054"/>
                <a:gd name="connsiteY139" fmla="*/ 1411565 h 6858000"/>
                <a:gd name="connsiteX140" fmla="*/ 5049469 w 11863054"/>
                <a:gd name="connsiteY140" fmla="*/ 925622 h 6858000"/>
                <a:gd name="connsiteX141" fmla="*/ 7323392 w 11863054"/>
                <a:gd name="connsiteY141" fmla="*/ 925123 h 6858000"/>
                <a:gd name="connsiteX142" fmla="*/ 7604121 w 11863054"/>
                <a:gd name="connsiteY142" fmla="*/ 1411344 h 6858000"/>
                <a:gd name="connsiteX143" fmla="*/ 7323558 w 11863054"/>
                <a:gd name="connsiteY143" fmla="*/ 1896955 h 6858000"/>
                <a:gd name="connsiteX144" fmla="*/ 6762100 w 11863054"/>
                <a:gd name="connsiteY144" fmla="*/ 1896955 h 6858000"/>
                <a:gd name="connsiteX145" fmla="*/ 6481537 w 11863054"/>
                <a:gd name="connsiteY145" fmla="*/ 1411178 h 6858000"/>
                <a:gd name="connsiteX146" fmla="*/ 6591069 w 11863054"/>
                <a:gd name="connsiteY146" fmla="*/ 1221532 h 6858000"/>
                <a:gd name="connsiteX147" fmla="*/ 6762266 w 11863054"/>
                <a:gd name="connsiteY147" fmla="*/ 925123 h 6858000"/>
                <a:gd name="connsiteX148" fmla="*/ 9036411 w 11863054"/>
                <a:gd name="connsiteY148" fmla="*/ 925068 h 6858000"/>
                <a:gd name="connsiteX149" fmla="*/ 9316919 w 11863054"/>
                <a:gd name="connsiteY149" fmla="*/ 1410955 h 6858000"/>
                <a:gd name="connsiteX150" fmla="*/ 9036245 w 11863054"/>
                <a:gd name="connsiteY150" fmla="*/ 1896955 h 6858000"/>
                <a:gd name="connsiteX151" fmla="*/ 8475008 w 11863054"/>
                <a:gd name="connsiteY151" fmla="*/ 1896955 h 6858000"/>
                <a:gd name="connsiteX152" fmla="*/ 8194389 w 11863054"/>
                <a:gd name="connsiteY152" fmla="*/ 1411066 h 6858000"/>
                <a:gd name="connsiteX153" fmla="*/ 8475008 w 11863054"/>
                <a:gd name="connsiteY153" fmla="*/ 925068 h 6858000"/>
                <a:gd name="connsiteX154" fmla="*/ 1329738 w 11863054"/>
                <a:gd name="connsiteY154" fmla="*/ 432032 h 6858000"/>
                <a:gd name="connsiteX155" fmla="*/ 1610245 w 11863054"/>
                <a:gd name="connsiteY155" fmla="*/ 917810 h 6858000"/>
                <a:gd name="connsiteX156" fmla="*/ 1329627 w 11863054"/>
                <a:gd name="connsiteY156" fmla="*/ 1403864 h 6858000"/>
                <a:gd name="connsiteX157" fmla="*/ 768446 w 11863054"/>
                <a:gd name="connsiteY157" fmla="*/ 1403864 h 6858000"/>
                <a:gd name="connsiteX158" fmla="*/ 487827 w 11863054"/>
                <a:gd name="connsiteY158" fmla="*/ 917810 h 6858000"/>
                <a:gd name="connsiteX159" fmla="*/ 768335 w 11863054"/>
                <a:gd name="connsiteY159" fmla="*/ 432032 h 6858000"/>
                <a:gd name="connsiteX160" fmla="*/ 3042369 w 11863054"/>
                <a:gd name="connsiteY160" fmla="*/ 431534 h 6858000"/>
                <a:gd name="connsiteX161" fmla="*/ 3322599 w 11863054"/>
                <a:gd name="connsiteY161" fmla="*/ 916979 h 6858000"/>
                <a:gd name="connsiteX162" fmla="*/ 3041704 w 11863054"/>
                <a:gd name="connsiteY162" fmla="*/ 1403366 h 6858000"/>
                <a:gd name="connsiteX163" fmla="*/ 2481187 w 11863054"/>
                <a:gd name="connsiteY163" fmla="*/ 1403366 h 6858000"/>
                <a:gd name="connsiteX164" fmla="*/ 2200569 w 11863054"/>
                <a:gd name="connsiteY164" fmla="*/ 917422 h 6858000"/>
                <a:gd name="connsiteX165" fmla="*/ 2481021 w 11863054"/>
                <a:gd name="connsiteY165" fmla="*/ 431534 h 6858000"/>
                <a:gd name="connsiteX166" fmla="*/ 4754335 w 11863054"/>
                <a:gd name="connsiteY166" fmla="*/ 431534 h 6858000"/>
                <a:gd name="connsiteX167" fmla="*/ 5034898 w 11863054"/>
                <a:gd name="connsiteY167" fmla="*/ 917477 h 6858000"/>
                <a:gd name="connsiteX168" fmla="*/ 4754169 w 11863054"/>
                <a:gd name="connsiteY168" fmla="*/ 1403366 h 6858000"/>
                <a:gd name="connsiteX169" fmla="*/ 4193043 w 11863054"/>
                <a:gd name="connsiteY169" fmla="*/ 1403366 h 6858000"/>
                <a:gd name="connsiteX170" fmla="*/ 3912701 w 11863054"/>
                <a:gd name="connsiteY170" fmla="*/ 917810 h 6858000"/>
                <a:gd name="connsiteX171" fmla="*/ 4193541 w 11863054"/>
                <a:gd name="connsiteY171" fmla="*/ 431534 h 6858000"/>
                <a:gd name="connsiteX172" fmla="*/ 6467243 w 11863054"/>
                <a:gd name="connsiteY172" fmla="*/ 431090 h 6858000"/>
                <a:gd name="connsiteX173" fmla="*/ 6747695 w 11863054"/>
                <a:gd name="connsiteY173" fmla="*/ 916979 h 6858000"/>
                <a:gd name="connsiteX174" fmla="*/ 6693400 w 11863054"/>
                <a:gd name="connsiteY174" fmla="*/ 1011054 h 6858000"/>
                <a:gd name="connsiteX175" fmla="*/ 6467077 w 11863054"/>
                <a:gd name="connsiteY175" fmla="*/ 1403033 h 6858000"/>
                <a:gd name="connsiteX176" fmla="*/ 5905729 w 11863054"/>
                <a:gd name="connsiteY176" fmla="*/ 1403033 h 6858000"/>
                <a:gd name="connsiteX177" fmla="*/ 5625166 w 11863054"/>
                <a:gd name="connsiteY177" fmla="*/ 916979 h 6858000"/>
                <a:gd name="connsiteX178" fmla="*/ 5905674 w 11863054"/>
                <a:gd name="connsiteY178" fmla="*/ 431090 h 6858000"/>
                <a:gd name="connsiteX179" fmla="*/ 8179874 w 11863054"/>
                <a:gd name="connsiteY179" fmla="*/ 431035 h 6858000"/>
                <a:gd name="connsiteX180" fmla="*/ 8460326 w 11863054"/>
                <a:gd name="connsiteY180" fmla="*/ 916812 h 6858000"/>
                <a:gd name="connsiteX181" fmla="*/ 8179818 w 11863054"/>
                <a:gd name="connsiteY181" fmla="*/ 1402867 h 6858000"/>
                <a:gd name="connsiteX182" fmla="*/ 7618582 w 11863054"/>
                <a:gd name="connsiteY182" fmla="*/ 1402867 h 6858000"/>
                <a:gd name="connsiteX183" fmla="*/ 7337963 w 11863054"/>
                <a:gd name="connsiteY183" fmla="*/ 916812 h 6858000"/>
                <a:gd name="connsiteX184" fmla="*/ 7618471 w 11863054"/>
                <a:gd name="connsiteY184" fmla="*/ 431035 h 6858000"/>
                <a:gd name="connsiteX185" fmla="*/ 9892505 w 11863054"/>
                <a:gd name="connsiteY185" fmla="*/ 430592 h 6858000"/>
                <a:gd name="connsiteX186" fmla="*/ 10173123 w 11863054"/>
                <a:gd name="connsiteY186" fmla="*/ 916536 h 6858000"/>
                <a:gd name="connsiteX187" fmla="*/ 9892560 w 11863054"/>
                <a:gd name="connsiteY187" fmla="*/ 1402534 h 6858000"/>
                <a:gd name="connsiteX188" fmla="*/ 9331323 w 11863054"/>
                <a:gd name="connsiteY188" fmla="*/ 1402534 h 6858000"/>
                <a:gd name="connsiteX189" fmla="*/ 9050650 w 11863054"/>
                <a:gd name="connsiteY189" fmla="*/ 916424 h 6858000"/>
                <a:gd name="connsiteX190" fmla="*/ 9331157 w 11863054"/>
                <a:gd name="connsiteY190" fmla="*/ 430592 h 6858000"/>
                <a:gd name="connsiteX191" fmla="*/ 11863054 w 11863054"/>
                <a:gd name="connsiteY191" fmla="*/ 0 h 6858000"/>
                <a:gd name="connsiteX192" fmla="*/ 11843939 w 11863054"/>
                <a:gd name="connsiteY192" fmla="*/ 0 h 6858000"/>
                <a:gd name="connsiteX193" fmla="*/ 11604970 w 11863054"/>
                <a:gd name="connsiteY193" fmla="*/ 413916 h 6858000"/>
                <a:gd name="connsiteX194" fmla="*/ 11043788 w 11863054"/>
                <a:gd name="connsiteY194" fmla="*/ 413916 h 6858000"/>
                <a:gd name="connsiteX195" fmla="*/ 10804853 w 11863054"/>
                <a:gd name="connsiteY195" fmla="*/ 0 h 6858000"/>
                <a:gd name="connsiteX196" fmla="*/ 10785529 w 11863054"/>
                <a:gd name="connsiteY196" fmla="*/ 0 h 6858000"/>
                <a:gd name="connsiteX197" fmla="*/ 11029217 w 11863054"/>
                <a:gd name="connsiteY197" fmla="*/ 422170 h 6858000"/>
                <a:gd name="connsiteX198" fmla="*/ 10748654 w 11863054"/>
                <a:gd name="connsiteY198" fmla="*/ 908114 h 6858000"/>
                <a:gd name="connsiteX199" fmla="*/ 10187639 w 11863054"/>
                <a:gd name="connsiteY199" fmla="*/ 908114 h 6858000"/>
                <a:gd name="connsiteX200" fmla="*/ 9906965 w 11863054"/>
                <a:gd name="connsiteY200" fmla="*/ 421949 h 6858000"/>
                <a:gd name="connsiteX201" fmla="*/ 10150539 w 11863054"/>
                <a:gd name="connsiteY201" fmla="*/ 0 h 6858000"/>
                <a:gd name="connsiteX202" fmla="*/ 10131190 w 11863054"/>
                <a:gd name="connsiteY202" fmla="*/ 0 h 6858000"/>
                <a:gd name="connsiteX203" fmla="*/ 9892339 w 11863054"/>
                <a:gd name="connsiteY203" fmla="*/ 413638 h 6858000"/>
                <a:gd name="connsiteX204" fmla="*/ 9330991 w 11863054"/>
                <a:gd name="connsiteY204" fmla="*/ 413638 h 6858000"/>
                <a:gd name="connsiteX205" fmla="*/ 9092139 w 11863054"/>
                <a:gd name="connsiteY205" fmla="*/ 0 h 6858000"/>
                <a:gd name="connsiteX206" fmla="*/ 9072826 w 11863054"/>
                <a:gd name="connsiteY206" fmla="*/ 0 h 6858000"/>
                <a:gd name="connsiteX207" fmla="*/ 9316642 w 11863054"/>
                <a:gd name="connsiteY207" fmla="*/ 422392 h 6858000"/>
                <a:gd name="connsiteX208" fmla="*/ 9036189 w 11863054"/>
                <a:gd name="connsiteY208" fmla="*/ 908170 h 6858000"/>
                <a:gd name="connsiteX209" fmla="*/ 8474731 w 11863054"/>
                <a:gd name="connsiteY209" fmla="*/ 908170 h 6858000"/>
                <a:gd name="connsiteX210" fmla="*/ 8194168 w 11863054"/>
                <a:gd name="connsiteY210" fmla="*/ 422503 h 6858000"/>
                <a:gd name="connsiteX211" fmla="*/ 8438136 w 11863054"/>
                <a:gd name="connsiteY211" fmla="*/ 0 h 6858000"/>
                <a:gd name="connsiteX212" fmla="*/ 8418811 w 11863054"/>
                <a:gd name="connsiteY212" fmla="*/ 0 h 6858000"/>
                <a:gd name="connsiteX213" fmla="*/ 8179597 w 11863054"/>
                <a:gd name="connsiteY213" fmla="*/ 414303 h 6858000"/>
                <a:gd name="connsiteX214" fmla="*/ 7618582 w 11863054"/>
                <a:gd name="connsiteY214" fmla="*/ 414303 h 6858000"/>
                <a:gd name="connsiteX215" fmla="*/ 7379274 w 11863054"/>
                <a:gd name="connsiteY215" fmla="*/ 0 h 6858000"/>
                <a:gd name="connsiteX216" fmla="*/ 7359940 w 11863054"/>
                <a:gd name="connsiteY216" fmla="*/ 0 h 6858000"/>
                <a:gd name="connsiteX217" fmla="*/ 7603955 w 11863054"/>
                <a:gd name="connsiteY217" fmla="*/ 422558 h 6858000"/>
                <a:gd name="connsiteX218" fmla="*/ 7323337 w 11863054"/>
                <a:gd name="connsiteY218" fmla="*/ 908447 h 6858000"/>
                <a:gd name="connsiteX219" fmla="*/ 6762100 w 11863054"/>
                <a:gd name="connsiteY219" fmla="*/ 908447 h 6858000"/>
                <a:gd name="connsiteX220" fmla="*/ 6481482 w 11863054"/>
                <a:gd name="connsiteY220" fmla="*/ 422503 h 6858000"/>
                <a:gd name="connsiteX221" fmla="*/ 6725445 w 11863054"/>
                <a:gd name="connsiteY221" fmla="*/ 0 h 6858000"/>
                <a:gd name="connsiteX222" fmla="*/ 6706132 w 11863054"/>
                <a:gd name="connsiteY222" fmla="*/ 0 h 6858000"/>
                <a:gd name="connsiteX223" fmla="*/ 6466910 w 11863054"/>
                <a:gd name="connsiteY223" fmla="*/ 414303 h 6858000"/>
                <a:gd name="connsiteX224" fmla="*/ 5905508 w 11863054"/>
                <a:gd name="connsiteY224" fmla="*/ 414303 h 6858000"/>
                <a:gd name="connsiteX225" fmla="*/ 5666338 w 11863054"/>
                <a:gd name="connsiteY225" fmla="*/ 0 h 6858000"/>
                <a:gd name="connsiteX226" fmla="*/ 5646974 w 11863054"/>
                <a:gd name="connsiteY226" fmla="*/ 0 h 6858000"/>
                <a:gd name="connsiteX227" fmla="*/ 5891214 w 11863054"/>
                <a:gd name="connsiteY227" fmla="*/ 422946 h 6858000"/>
                <a:gd name="connsiteX228" fmla="*/ 5618463 w 11863054"/>
                <a:gd name="connsiteY228" fmla="*/ 895261 h 6858000"/>
                <a:gd name="connsiteX229" fmla="*/ 5610706 w 11863054"/>
                <a:gd name="connsiteY229" fmla="*/ 908835 h 6858000"/>
                <a:gd name="connsiteX230" fmla="*/ 5049192 w 11863054"/>
                <a:gd name="connsiteY230" fmla="*/ 908835 h 6858000"/>
                <a:gd name="connsiteX231" fmla="*/ 4769017 w 11863054"/>
                <a:gd name="connsiteY231" fmla="*/ 423556 h 6858000"/>
                <a:gd name="connsiteX232" fmla="*/ 5013591 w 11863054"/>
                <a:gd name="connsiteY232" fmla="*/ 0 h 6858000"/>
                <a:gd name="connsiteX233" fmla="*/ 4993649 w 11863054"/>
                <a:gd name="connsiteY233" fmla="*/ 0 h 6858000"/>
                <a:gd name="connsiteX234" fmla="*/ 4754058 w 11863054"/>
                <a:gd name="connsiteY234" fmla="*/ 414857 h 6858000"/>
                <a:gd name="connsiteX235" fmla="*/ 4193652 w 11863054"/>
                <a:gd name="connsiteY235" fmla="*/ 414857 h 6858000"/>
                <a:gd name="connsiteX236" fmla="*/ 3954146 w 11863054"/>
                <a:gd name="connsiteY236" fmla="*/ 0 h 6858000"/>
                <a:gd name="connsiteX237" fmla="*/ 3934827 w 11863054"/>
                <a:gd name="connsiteY237" fmla="*/ 0 h 6858000"/>
                <a:gd name="connsiteX238" fmla="*/ 4178860 w 11863054"/>
                <a:gd name="connsiteY238" fmla="*/ 422669 h 6858000"/>
                <a:gd name="connsiteX239" fmla="*/ 3898186 w 11863054"/>
                <a:gd name="connsiteY239" fmla="*/ 909056 h 6858000"/>
                <a:gd name="connsiteX240" fmla="*/ 3337503 w 11863054"/>
                <a:gd name="connsiteY240" fmla="*/ 909056 h 6858000"/>
                <a:gd name="connsiteX241" fmla="*/ 3056829 w 11863054"/>
                <a:gd name="connsiteY241" fmla="*/ 422946 h 6858000"/>
                <a:gd name="connsiteX242" fmla="*/ 3300979 w 11863054"/>
                <a:gd name="connsiteY242" fmla="*/ 0 h 6858000"/>
                <a:gd name="connsiteX243" fmla="*/ 3281513 w 11863054"/>
                <a:gd name="connsiteY243" fmla="*/ 0 h 6858000"/>
                <a:gd name="connsiteX244" fmla="*/ 3042203 w 11863054"/>
                <a:gd name="connsiteY244" fmla="*/ 414691 h 6858000"/>
                <a:gd name="connsiteX245" fmla="*/ 2480855 w 11863054"/>
                <a:gd name="connsiteY245" fmla="*/ 414691 h 6858000"/>
                <a:gd name="connsiteX246" fmla="*/ 2241403 w 11863054"/>
                <a:gd name="connsiteY246" fmla="*/ 0 h 6858000"/>
                <a:gd name="connsiteX247" fmla="*/ 2222087 w 11863054"/>
                <a:gd name="connsiteY247" fmla="*/ 0 h 6858000"/>
                <a:gd name="connsiteX248" fmla="*/ 2466505 w 11863054"/>
                <a:gd name="connsiteY248" fmla="*/ 423389 h 6858000"/>
                <a:gd name="connsiteX249" fmla="*/ 2214697 w 11863054"/>
                <a:gd name="connsiteY249" fmla="*/ 859580 h 6858000"/>
                <a:gd name="connsiteX250" fmla="*/ 2186053 w 11863054"/>
                <a:gd name="connsiteY250" fmla="*/ 909278 h 6858000"/>
                <a:gd name="connsiteX251" fmla="*/ 1624539 w 11863054"/>
                <a:gd name="connsiteY251" fmla="*/ 909278 h 6858000"/>
                <a:gd name="connsiteX252" fmla="*/ 1344087 w 11863054"/>
                <a:gd name="connsiteY252" fmla="*/ 423445 h 6858000"/>
                <a:gd name="connsiteX253" fmla="*/ 1588559 w 11863054"/>
                <a:gd name="connsiteY253" fmla="*/ 0 h 6858000"/>
                <a:gd name="connsiteX254" fmla="*/ 1569223 w 11863054"/>
                <a:gd name="connsiteY254" fmla="*/ 0 h 6858000"/>
                <a:gd name="connsiteX255" fmla="*/ 1329461 w 11863054"/>
                <a:gd name="connsiteY255" fmla="*/ 415301 h 6858000"/>
                <a:gd name="connsiteX256" fmla="*/ 768446 w 11863054"/>
                <a:gd name="connsiteY256" fmla="*/ 415301 h 6858000"/>
                <a:gd name="connsiteX257" fmla="*/ 528589 w 11863054"/>
                <a:gd name="connsiteY257" fmla="*/ 0 h 6858000"/>
                <a:gd name="connsiteX258" fmla="*/ 509180 w 11863054"/>
                <a:gd name="connsiteY258" fmla="*/ 0 h 6858000"/>
                <a:gd name="connsiteX259" fmla="*/ 753764 w 11863054"/>
                <a:gd name="connsiteY259" fmla="*/ 423667 h 6858000"/>
                <a:gd name="connsiteX260" fmla="*/ 473201 w 11863054"/>
                <a:gd name="connsiteY260" fmla="*/ 909444 h 6858000"/>
                <a:gd name="connsiteX261" fmla="*/ 0 w 11863054"/>
                <a:gd name="connsiteY261" fmla="*/ 909444 h 6858000"/>
                <a:gd name="connsiteX262" fmla="*/ 0 w 11863054"/>
                <a:gd name="connsiteY262" fmla="*/ 926120 h 6858000"/>
                <a:gd name="connsiteX263" fmla="*/ 473201 w 11863054"/>
                <a:gd name="connsiteY263" fmla="*/ 926120 h 6858000"/>
                <a:gd name="connsiteX264" fmla="*/ 754041 w 11863054"/>
                <a:gd name="connsiteY264" fmla="*/ 1412285 h 6858000"/>
                <a:gd name="connsiteX265" fmla="*/ 473533 w 11863054"/>
                <a:gd name="connsiteY265" fmla="*/ 1898063 h 6858000"/>
                <a:gd name="connsiteX266" fmla="*/ 0 w 11863054"/>
                <a:gd name="connsiteY266" fmla="*/ 1898063 h 6858000"/>
                <a:gd name="connsiteX267" fmla="*/ 0 w 11863054"/>
                <a:gd name="connsiteY267" fmla="*/ 1914850 h 6858000"/>
                <a:gd name="connsiteX268" fmla="*/ 473533 w 11863054"/>
                <a:gd name="connsiteY268" fmla="*/ 1914850 h 6858000"/>
                <a:gd name="connsiteX269" fmla="*/ 753875 w 11863054"/>
                <a:gd name="connsiteY269" fmla="*/ 2400517 h 6858000"/>
                <a:gd name="connsiteX270" fmla="*/ 473201 w 11863054"/>
                <a:gd name="connsiteY270" fmla="*/ 2886737 h 6858000"/>
                <a:gd name="connsiteX271" fmla="*/ 0 w 11863054"/>
                <a:gd name="connsiteY271" fmla="*/ 2886737 h 6858000"/>
                <a:gd name="connsiteX272" fmla="*/ 0 w 11863054"/>
                <a:gd name="connsiteY272" fmla="*/ 2903414 h 6858000"/>
                <a:gd name="connsiteX273" fmla="*/ 472924 w 11863054"/>
                <a:gd name="connsiteY273" fmla="*/ 2903414 h 6858000"/>
                <a:gd name="connsiteX274" fmla="*/ 753597 w 11863054"/>
                <a:gd name="connsiteY274" fmla="*/ 3389579 h 6858000"/>
                <a:gd name="connsiteX275" fmla="*/ 473201 w 11863054"/>
                <a:gd name="connsiteY275" fmla="*/ 3875245 h 6858000"/>
                <a:gd name="connsiteX276" fmla="*/ 0 w 11863054"/>
                <a:gd name="connsiteY276" fmla="*/ 3875245 h 6858000"/>
                <a:gd name="connsiteX277" fmla="*/ 0 w 11863054"/>
                <a:gd name="connsiteY277" fmla="*/ 3892032 h 6858000"/>
                <a:gd name="connsiteX278" fmla="*/ 473367 w 11863054"/>
                <a:gd name="connsiteY278" fmla="*/ 3892032 h 6858000"/>
                <a:gd name="connsiteX279" fmla="*/ 753875 w 11863054"/>
                <a:gd name="connsiteY279" fmla="*/ 4377921 h 6858000"/>
                <a:gd name="connsiteX280" fmla="*/ 473201 w 11863054"/>
                <a:gd name="connsiteY280" fmla="*/ 4863975 h 6858000"/>
                <a:gd name="connsiteX281" fmla="*/ 0 w 11863054"/>
                <a:gd name="connsiteY281" fmla="*/ 4863975 h 6858000"/>
                <a:gd name="connsiteX282" fmla="*/ 0 w 11863054"/>
                <a:gd name="connsiteY282" fmla="*/ 4880651 h 6858000"/>
                <a:gd name="connsiteX283" fmla="*/ 473422 w 11863054"/>
                <a:gd name="connsiteY283" fmla="*/ 4880651 h 6858000"/>
                <a:gd name="connsiteX284" fmla="*/ 754041 w 11863054"/>
                <a:gd name="connsiteY284" fmla="*/ 5366650 h 6858000"/>
                <a:gd name="connsiteX285" fmla="*/ 473478 w 11863054"/>
                <a:gd name="connsiteY285" fmla="*/ 5852538 h 6858000"/>
                <a:gd name="connsiteX286" fmla="*/ 0 w 11863054"/>
                <a:gd name="connsiteY286" fmla="*/ 5852538 h 6858000"/>
                <a:gd name="connsiteX287" fmla="*/ 0 w 11863054"/>
                <a:gd name="connsiteY287" fmla="*/ 5869436 h 6858000"/>
                <a:gd name="connsiteX288" fmla="*/ 473699 w 11863054"/>
                <a:gd name="connsiteY288" fmla="*/ 5869436 h 6858000"/>
                <a:gd name="connsiteX289" fmla="*/ 754262 w 11863054"/>
                <a:gd name="connsiteY289" fmla="*/ 6355158 h 6858000"/>
                <a:gd name="connsiteX290" fmla="*/ 473644 w 11863054"/>
                <a:gd name="connsiteY290" fmla="*/ 6841324 h 6858000"/>
                <a:gd name="connsiteX291" fmla="*/ 0 w 11863054"/>
                <a:gd name="connsiteY291" fmla="*/ 6841324 h 6858000"/>
                <a:gd name="connsiteX292" fmla="*/ 0 w 11863054"/>
                <a:gd name="connsiteY292" fmla="*/ 6858000 h 6858000"/>
                <a:gd name="connsiteX293" fmla="*/ 483173 w 11863054"/>
                <a:gd name="connsiteY293" fmla="*/ 6858000 h 6858000"/>
                <a:gd name="connsiteX294" fmla="*/ 773377 w 11863054"/>
                <a:gd name="connsiteY294" fmla="*/ 6355214 h 6858000"/>
                <a:gd name="connsiteX295" fmla="*/ 487938 w 11863054"/>
                <a:gd name="connsiteY295" fmla="*/ 5860849 h 6858000"/>
                <a:gd name="connsiteX296" fmla="*/ 773266 w 11863054"/>
                <a:gd name="connsiteY296" fmla="*/ 5366761 h 6858000"/>
                <a:gd name="connsiteX297" fmla="*/ 487716 w 11863054"/>
                <a:gd name="connsiteY297" fmla="*/ 4872175 h 6858000"/>
                <a:gd name="connsiteX298" fmla="*/ 773099 w 11863054"/>
                <a:gd name="connsiteY298" fmla="*/ 4378031 h 6858000"/>
                <a:gd name="connsiteX299" fmla="*/ 487606 w 11863054"/>
                <a:gd name="connsiteY299" fmla="*/ 3883611 h 6858000"/>
                <a:gd name="connsiteX300" fmla="*/ 768002 w 11863054"/>
                <a:gd name="connsiteY300" fmla="*/ 3398111 h 6858000"/>
                <a:gd name="connsiteX301" fmla="*/ 1338990 w 11863054"/>
                <a:gd name="connsiteY301" fmla="*/ 3398111 h 6858000"/>
                <a:gd name="connsiteX302" fmla="*/ 1624539 w 11863054"/>
                <a:gd name="connsiteY302" fmla="*/ 2903469 h 6858000"/>
                <a:gd name="connsiteX303" fmla="*/ 2185943 w 11863054"/>
                <a:gd name="connsiteY303" fmla="*/ 2903469 h 6858000"/>
                <a:gd name="connsiteX304" fmla="*/ 2466505 w 11863054"/>
                <a:gd name="connsiteY304" fmla="*/ 3389246 h 6858000"/>
                <a:gd name="connsiteX305" fmla="*/ 2185887 w 11863054"/>
                <a:gd name="connsiteY305" fmla="*/ 3875245 h 6858000"/>
                <a:gd name="connsiteX306" fmla="*/ 1615010 w 11863054"/>
                <a:gd name="connsiteY306" fmla="*/ 3875245 h 6858000"/>
                <a:gd name="connsiteX307" fmla="*/ 1324807 w 11863054"/>
                <a:gd name="connsiteY307" fmla="*/ 4378031 h 6858000"/>
                <a:gd name="connsiteX308" fmla="*/ 1610245 w 11863054"/>
                <a:gd name="connsiteY308" fmla="*/ 4872396 h 6858000"/>
                <a:gd name="connsiteX309" fmla="*/ 1324973 w 11863054"/>
                <a:gd name="connsiteY309" fmla="*/ 5366595 h 6858000"/>
                <a:gd name="connsiteX310" fmla="*/ 1615232 w 11863054"/>
                <a:gd name="connsiteY310" fmla="*/ 5869215 h 6858000"/>
                <a:gd name="connsiteX311" fmla="*/ 2195693 w 11863054"/>
                <a:gd name="connsiteY311" fmla="*/ 5869215 h 6858000"/>
                <a:gd name="connsiteX312" fmla="*/ 2485952 w 11863054"/>
                <a:gd name="connsiteY312" fmla="*/ 5366539 h 6858000"/>
                <a:gd name="connsiteX313" fmla="*/ 2200403 w 11863054"/>
                <a:gd name="connsiteY313" fmla="*/ 4872064 h 6858000"/>
                <a:gd name="connsiteX314" fmla="*/ 2481021 w 11863054"/>
                <a:gd name="connsiteY314" fmla="*/ 4386120 h 6858000"/>
                <a:gd name="connsiteX315" fmla="*/ 3042369 w 11863054"/>
                <a:gd name="connsiteY315" fmla="*/ 4386120 h 6858000"/>
                <a:gd name="connsiteX316" fmla="*/ 3327641 w 11863054"/>
                <a:gd name="connsiteY316" fmla="*/ 4880263 h 6858000"/>
                <a:gd name="connsiteX317" fmla="*/ 3908214 w 11863054"/>
                <a:gd name="connsiteY317" fmla="*/ 4880263 h 6858000"/>
                <a:gd name="connsiteX318" fmla="*/ 4193541 w 11863054"/>
                <a:gd name="connsiteY318" fmla="*/ 4386120 h 6858000"/>
                <a:gd name="connsiteX319" fmla="*/ 4764474 w 11863054"/>
                <a:gd name="connsiteY319" fmla="*/ 4386120 h 6858000"/>
                <a:gd name="connsiteX320" fmla="*/ 5050023 w 11863054"/>
                <a:gd name="connsiteY320" fmla="*/ 3891478 h 6858000"/>
                <a:gd name="connsiteX321" fmla="*/ 5620734 w 11863054"/>
                <a:gd name="connsiteY321" fmla="*/ 3891478 h 6858000"/>
                <a:gd name="connsiteX322" fmla="*/ 5906173 w 11863054"/>
                <a:gd name="connsiteY322" fmla="*/ 3396948 h 6858000"/>
                <a:gd name="connsiteX323" fmla="*/ 6476938 w 11863054"/>
                <a:gd name="connsiteY323" fmla="*/ 3396948 h 6858000"/>
                <a:gd name="connsiteX324" fmla="*/ 6762488 w 11863054"/>
                <a:gd name="connsiteY324" fmla="*/ 2902416 h 6858000"/>
                <a:gd name="connsiteX325" fmla="*/ 7333199 w 11863054"/>
                <a:gd name="connsiteY325" fmla="*/ 2902416 h 6858000"/>
                <a:gd name="connsiteX326" fmla="*/ 7618637 w 11863054"/>
                <a:gd name="connsiteY326" fmla="*/ 2408218 h 6858000"/>
                <a:gd name="connsiteX327" fmla="*/ 8189569 w 11863054"/>
                <a:gd name="connsiteY327" fmla="*/ 2408218 h 6858000"/>
                <a:gd name="connsiteX328" fmla="*/ 8475063 w 11863054"/>
                <a:gd name="connsiteY328" fmla="*/ 1913631 h 6858000"/>
                <a:gd name="connsiteX329" fmla="*/ 9045830 w 11863054"/>
                <a:gd name="connsiteY329" fmla="*/ 1913631 h 6858000"/>
                <a:gd name="connsiteX330" fmla="*/ 9331379 w 11863054"/>
                <a:gd name="connsiteY330" fmla="*/ 1419100 h 6858000"/>
                <a:gd name="connsiteX331" fmla="*/ 9902145 w 11863054"/>
                <a:gd name="connsiteY331" fmla="*/ 1419100 h 6858000"/>
                <a:gd name="connsiteX332" fmla="*/ 10187584 w 11863054"/>
                <a:gd name="connsiteY332" fmla="*/ 924680 h 6858000"/>
                <a:gd name="connsiteX333" fmla="*/ 10758184 w 11863054"/>
                <a:gd name="connsiteY333" fmla="*/ 924680 h 6858000"/>
                <a:gd name="connsiteX334" fmla="*/ 11043511 w 11863054"/>
                <a:gd name="connsiteY334" fmla="*/ 430537 h 6858000"/>
                <a:gd name="connsiteX335" fmla="*/ 11614444 w 11863054"/>
                <a:gd name="connsiteY335" fmla="*/ 4305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11863054" h="6858000">
                  <a:moveTo>
                    <a:pt x="2186275" y="4880651"/>
                  </a:moveTo>
                  <a:lnTo>
                    <a:pt x="2466727" y="5366539"/>
                  </a:lnTo>
                  <a:lnTo>
                    <a:pt x="2186109" y="5852538"/>
                  </a:lnTo>
                  <a:lnTo>
                    <a:pt x="1624817" y="5852538"/>
                  </a:lnTo>
                  <a:lnTo>
                    <a:pt x="1344198" y="5366539"/>
                  </a:lnTo>
                  <a:lnTo>
                    <a:pt x="1624650" y="4880651"/>
                  </a:lnTo>
                  <a:close/>
                  <a:moveTo>
                    <a:pt x="2185887" y="3891755"/>
                  </a:moveTo>
                  <a:lnTo>
                    <a:pt x="2466505" y="4377921"/>
                  </a:lnTo>
                  <a:lnTo>
                    <a:pt x="2186053" y="4863753"/>
                  </a:lnTo>
                  <a:lnTo>
                    <a:pt x="1624539" y="4863753"/>
                  </a:lnTo>
                  <a:lnTo>
                    <a:pt x="1343977" y="4377921"/>
                  </a:lnTo>
                  <a:lnTo>
                    <a:pt x="1624650" y="3891755"/>
                  </a:lnTo>
                  <a:close/>
                  <a:moveTo>
                    <a:pt x="3898518" y="3891700"/>
                  </a:moveTo>
                  <a:lnTo>
                    <a:pt x="4179137" y="4377644"/>
                  </a:lnTo>
                  <a:lnTo>
                    <a:pt x="3898518" y="4863642"/>
                  </a:lnTo>
                  <a:lnTo>
                    <a:pt x="3337226" y="4863642"/>
                  </a:lnTo>
                  <a:lnTo>
                    <a:pt x="3056718" y="4377644"/>
                  </a:lnTo>
                  <a:lnTo>
                    <a:pt x="3337337" y="3891700"/>
                  </a:lnTo>
                  <a:close/>
                  <a:moveTo>
                    <a:pt x="4755000" y="3397502"/>
                  </a:moveTo>
                  <a:lnTo>
                    <a:pt x="5035508" y="3883389"/>
                  </a:lnTo>
                  <a:lnTo>
                    <a:pt x="4754778" y="4369444"/>
                  </a:lnTo>
                  <a:lnTo>
                    <a:pt x="4193652" y="4369444"/>
                  </a:lnTo>
                  <a:lnTo>
                    <a:pt x="3912978" y="3883223"/>
                  </a:lnTo>
                  <a:lnTo>
                    <a:pt x="4193541" y="3397502"/>
                  </a:lnTo>
                  <a:close/>
                  <a:moveTo>
                    <a:pt x="3042147" y="3397391"/>
                  </a:moveTo>
                  <a:lnTo>
                    <a:pt x="3322710" y="3883389"/>
                  </a:lnTo>
                  <a:lnTo>
                    <a:pt x="3042147" y="4369444"/>
                  </a:lnTo>
                  <a:lnTo>
                    <a:pt x="2480966" y="4369444"/>
                  </a:lnTo>
                  <a:lnTo>
                    <a:pt x="2200292" y="3883389"/>
                  </a:lnTo>
                  <a:lnTo>
                    <a:pt x="2480911" y="3397391"/>
                  </a:lnTo>
                  <a:close/>
                  <a:moveTo>
                    <a:pt x="3898186" y="2902970"/>
                  </a:moveTo>
                  <a:lnTo>
                    <a:pt x="4178860" y="3389136"/>
                  </a:lnTo>
                  <a:lnTo>
                    <a:pt x="3898463" y="3874857"/>
                  </a:lnTo>
                  <a:lnTo>
                    <a:pt x="3337115" y="3874857"/>
                  </a:lnTo>
                  <a:lnTo>
                    <a:pt x="3056607" y="3388969"/>
                  </a:lnTo>
                  <a:lnTo>
                    <a:pt x="3337115" y="2902970"/>
                  </a:lnTo>
                  <a:close/>
                  <a:moveTo>
                    <a:pt x="5611205" y="2902915"/>
                  </a:moveTo>
                  <a:lnTo>
                    <a:pt x="5891712" y="3388748"/>
                  </a:lnTo>
                  <a:lnTo>
                    <a:pt x="5611149" y="3874857"/>
                  </a:lnTo>
                  <a:lnTo>
                    <a:pt x="5049857" y="3874857"/>
                  </a:lnTo>
                  <a:lnTo>
                    <a:pt x="4769239" y="3388969"/>
                  </a:lnTo>
                  <a:lnTo>
                    <a:pt x="5049857" y="2902915"/>
                  </a:lnTo>
                  <a:close/>
                  <a:moveTo>
                    <a:pt x="1329350" y="2409215"/>
                  </a:moveTo>
                  <a:lnTo>
                    <a:pt x="1609968" y="2895269"/>
                  </a:lnTo>
                  <a:lnTo>
                    <a:pt x="1329350" y="3381379"/>
                  </a:lnTo>
                  <a:lnTo>
                    <a:pt x="768224" y="3381379"/>
                  </a:lnTo>
                  <a:lnTo>
                    <a:pt x="487716" y="2895546"/>
                  </a:lnTo>
                  <a:lnTo>
                    <a:pt x="768501" y="2409215"/>
                  </a:lnTo>
                  <a:close/>
                  <a:moveTo>
                    <a:pt x="3041981" y="2408883"/>
                  </a:moveTo>
                  <a:lnTo>
                    <a:pt x="3322599" y="2894826"/>
                  </a:lnTo>
                  <a:lnTo>
                    <a:pt x="3042092" y="3380714"/>
                  </a:lnTo>
                  <a:lnTo>
                    <a:pt x="2480855" y="3380714"/>
                  </a:lnTo>
                  <a:lnTo>
                    <a:pt x="2200126" y="2894715"/>
                  </a:lnTo>
                  <a:lnTo>
                    <a:pt x="2480689" y="2408883"/>
                  </a:lnTo>
                  <a:close/>
                  <a:moveTo>
                    <a:pt x="4754612" y="2408827"/>
                  </a:moveTo>
                  <a:lnTo>
                    <a:pt x="5035231" y="2894715"/>
                  </a:lnTo>
                  <a:lnTo>
                    <a:pt x="4754612" y="3380714"/>
                  </a:lnTo>
                  <a:lnTo>
                    <a:pt x="4193375" y="3380714"/>
                  </a:lnTo>
                  <a:lnTo>
                    <a:pt x="3912757" y="2894715"/>
                  </a:lnTo>
                  <a:lnTo>
                    <a:pt x="4193320" y="2408827"/>
                  </a:lnTo>
                  <a:close/>
                  <a:moveTo>
                    <a:pt x="6467576" y="2408384"/>
                  </a:moveTo>
                  <a:lnTo>
                    <a:pt x="6748083" y="2894217"/>
                  </a:lnTo>
                  <a:lnTo>
                    <a:pt x="6467409" y="3380326"/>
                  </a:lnTo>
                  <a:lnTo>
                    <a:pt x="5906173" y="3380326"/>
                  </a:lnTo>
                  <a:lnTo>
                    <a:pt x="5625554" y="2894272"/>
                  </a:lnTo>
                  <a:lnTo>
                    <a:pt x="5906006" y="2408384"/>
                  </a:lnTo>
                  <a:close/>
                  <a:moveTo>
                    <a:pt x="2185610" y="1914628"/>
                  </a:moveTo>
                  <a:lnTo>
                    <a:pt x="2466229" y="2400572"/>
                  </a:lnTo>
                  <a:lnTo>
                    <a:pt x="2423402" y="2474702"/>
                  </a:lnTo>
                  <a:lnTo>
                    <a:pt x="2185555" y="2886737"/>
                  </a:lnTo>
                  <a:lnTo>
                    <a:pt x="1624318" y="2886737"/>
                  </a:lnTo>
                  <a:lnTo>
                    <a:pt x="1344087" y="2401292"/>
                  </a:lnTo>
                  <a:lnTo>
                    <a:pt x="1625093" y="1914628"/>
                  </a:lnTo>
                  <a:close/>
                  <a:moveTo>
                    <a:pt x="3898186" y="1914462"/>
                  </a:moveTo>
                  <a:lnTo>
                    <a:pt x="4178804" y="2400461"/>
                  </a:lnTo>
                  <a:lnTo>
                    <a:pt x="3898241" y="2886349"/>
                  </a:lnTo>
                  <a:lnTo>
                    <a:pt x="3337115" y="2886349"/>
                  </a:lnTo>
                  <a:lnTo>
                    <a:pt x="3056441" y="2400295"/>
                  </a:lnTo>
                  <a:lnTo>
                    <a:pt x="3336949" y="1914462"/>
                  </a:lnTo>
                  <a:close/>
                  <a:moveTo>
                    <a:pt x="5610872" y="1914185"/>
                  </a:moveTo>
                  <a:lnTo>
                    <a:pt x="5891491" y="2400240"/>
                  </a:lnTo>
                  <a:lnTo>
                    <a:pt x="5610983" y="2886072"/>
                  </a:lnTo>
                  <a:lnTo>
                    <a:pt x="5049469" y="2886072"/>
                  </a:lnTo>
                  <a:lnTo>
                    <a:pt x="4768962" y="2400295"/>
                  </a:lnTo>
                  <a:lnTo>
                    <a:pt x="5049635" y="1914185"/>
                  </a:lnTo>
                  <a:close/>
                  <a:moveTo>
                    <a:pt x="7323669" y="1913853"/>
                  </a:moveTo>
                  <a:lnTo>
                    <a:pt x="7604232" y="2399852"/>
                  </a:lnTo>
                  <a:lnTo>
                    <a:pt x="7323669" y="2885740"/>
                  </a:lnTo>
                  <a:lnTo>
                    <a:pt x="6762377" y="2885740"/>
                  </a:lnTo>
                  <a:lnTo>
                    <a:pt x="6481870" y="2399741"/>
                  </a:lnTo>
                  <a:lnTo>
                    <a:pt x="6762322" y="1913853"/>
                  </a:lnTo>
                  <a:close/>
                  <a:moveTo>
                    <a:pt x="1330015" y="1420652"/>
                  </a:moveTo>
                  <a:lnTo>
                    <a:pt x="1610135" y="1905930"/>
                  </a:lnTo>
                  <a:lnTo>
                    <a:pt x="1329073" y="2392594"/>
                  </a:lnTo>
                  <a:lnTo>
                    <a:pt x="768723" y="2392594"/>
                  </a:lnTo>
                  <a:lnTo>
                    <a:pt x="487993" y="1906429"/>
                  </a:lnTo>
                  <a:lnTo>
                    <a:pt x="768446" y="1420652"/>
                  </a:lnTo>
                  <a:close/>
                  <a:moveTo>
                    <a:pt x="4754612" y="1420208"/>
                  </a:moveTo>
                  <a:lnTo>
                    <a:pt x="5035175" y="1906096"/>
                  </a:lnTo>
                  <a:lnTo>
                    <a:pt x="4754391" y="2392151"/>
                  </a:lnTo>
                  <a:lnTo>
                    <a:pt x="4193375" y="2392151"/>
                  </a:lnTo>
                  <a:lnTo>
                    <a:pt x="3912646" y="1905986"/>
                  </a:lnTo>
                  <a:lnTo>
                    <a:pt x="4193098" y="1420208"/>
                  </a:lnTo>
                  <a:close/>
                  <a:moveTo>
                    <a:pt x="3041704" y="1420097"/>
                  </a:moveTo>
                  <a:lnTo>
                    <a:pt x="3322322" y="1906207"/>
                  </a:lnTo>
                  <a:lnTo>
                    <a:pt x="3041925" y="2391985"/>
                  </a:lnTo>
                  <a:lnTo>
                    <a:pt x="2480523" y="2391985"/>
                  </a:lnTo>
                  <a:lnTo>
                    <a:pt x="2200347" y="1906706"/>
                  </a:lnTo>
                  <a:lnTo>
                    <a:pt x="2481187" y="1420097"/>
                  </a:lnTo>
                  <a:close/>
                  <a:moveTo>
                    <a:pt x="6467243" y="1419654"/>
                  </a:moveTo>
                  <a:lnTo>
                    <a:pt x="6747862" y="1905597"/>
                  </a:lnTo>
                  <a:lnTo>
                    <a:pt x="6467409" y="2391486"/>
                  </a:lnTo>
                  <a:lnTo>
                    <a:pt x="5905785" y="2391486"/>
                  </a:lnTo>
                  <a:lnTo>
                    <a:pt x="5625333" y="1905708"/>
                  </a:lnTo>
                  <a:lnTo>
                    <a:pt x="5735696" y="1714456"/>
                  </a:lnTo>
                  <a:lnTo>
                    <a:pt x="5905950" y="1419654"/>
                  </a:lnTo>
                  <a:close/>
                  <a:moveTo>
                    <a:pt x="8180151" y="1419654"/>
                  </a:moveTo>
                  <a:lnTo>
                    <a:pt x="8460603" y="1905487"/>
                  </a:lnTo>
                  <a:lnTo>
                    <a:pt x="8179984" y="2391652"/>
                  </a:lnTo>
                  <a:lnTo>
                    <a:pt x="7618914" y="2391652"/>
                  </a:lnTo>
                  <a:lnTo>
                    <a:pt x="7338130" y="1905432"/>
                  </a:lnTo>
                  <a:lnTo>
                    <a:pt x="7618582" y="1419654"/>
                  </a:lnTo>
                  <a:close/>
                  <a:moveTo>
                    <a:pt x="2186164" y="926120"/>
                  </a:moveTo>
                  <a:lnTo>
                    <a:pt x="2466395" y="1411344"/>
                  </a:lnTo>
                  <a:lnTo>
                    <a:pt x="2185555" y="1897952"/>
                  </a:lnTo>
                  <a:lnTo>
                    <a:pt x="1624817" y="1897952"/>
                  </a:lnTo>
                  <a:lnTo>
                    <a:pt x="1344253" y="1412064"/>
                  </a:lnTo>
                  <a:lnTo>
                    <a:pt x="1624817" y="926120"/>
                  </a:lnTo>
                  <a:close/>
                  <a:moveTo>
                    <a:pt x="3897853" y="925677"/>
                  </a:moveTo>
                  <a:lnTo>
                    <a:pt x="4178583" y="1411842"/>
                  </a:lnTo>
                  <a:lnTo>
                    <a:pt x="3898186" y="1897620"/>
                  </a:lnTo>
                  <a:lnTo>
                    <a:pt x="3336838" y="1897620"/>
                  </a:lnTo>
                  <a:lnTo>
                    <a:pt x="3056607" y="1412174"/>
                  </a:lnTo>
                  <a:lnTo>
                    <a:pt x="3337503" y="925677"/>
                  </a:lnTo>
                  <a:close/>
                  <a:moveTo>
                    <a:pt x="5610872" y="925622"/>
                  </a:moveTo>
                  <a:lnTo>
                    <a:pt x="5891380" y="1411455"/>
                  </a:lnTo>
                  <a:lnTo>
                    <a:pt x="5710376" y="1725093"/>
                  </a:lnTo>
                  <a:lnTo>
                    <a:pt x="5610761" y="1897453"/>
                  </a:lnTo>
                  <a:lnTo>
                    <a:pt x="5049414" y="1897453"/>
                  </a:lnTo>
                  <a:lnTo>
                    <a:pt x="4768851" y="1411565"/>
                  </a:lnTo>
                  <a:lnTo>
                    <a:pt x="5049469" y="925622"/>
                  </a:lnTo>
                  <a:close/>
                  <a:moveTo>
                    <a:pt x="7323392" y="925123"/>
                  </a:moveTo>
                  <a:lnTo>
                    <a:pt x="7604121" y="1411344"/>
                  </a:lnTo>
                  <a:lnTo>
                    <a:pt x="7323558" y="1896955"/>
                  </a:lnTo>
                  <a:lnTo>
                    <a:pt x="6762100" y="1896955"/>
                  </a:lnTo>
                  <a:lnTo>
                    <a:pt x="6481537" y="1411178"/>
                  </a:lnTo>
                  <a:lnTo>
                    <a:pt x="6591069" y="1221532"/>
                  </a:lnTo>
                  <a:lnTo>
                    <a:pt x="6762266" y="925123"/>
                  </a:lnTo>
                  <a:close/>
                  <a:moveTo>
                    <a:pt x="9036411" y="925068"/>
                  </a:moveTo>
                  <a:lnTo>
                    <a:pt x="9316919" y="1410955"/>
                  </a:lnTo>
                  <a:lnTo>
                    <a:pt x="9036245" y="1896955"/>
                  </a:lnTo>
                  <a:lnTo>
                    <a:pt x="8475008" y="1896955"/>
                  </a:lnTo>
                  <a:lnTo>
                    <a:pt x="8194389" y="1411066"/>
                  </a:lnTo>
                  <a:lnTo>
                    <a:pt x="8475008" y="925068"/>
                  </a:lnTo>
                  <a:close/>
                  <a:moveTo>
                    <a:pt x="1329738" y="432032"/>
                  </a:moveTo>
                  <a:lnTo>
                    <a:pt x="1610245" y="917810"/>
                  </a:lnTo>
                  <a:lnTo>
                    <a:pt x="1329627" y="1403864"/>
                  </a:lnTo>
                  <a:lnTo>
                    <a:pt x="768446" y="1403864"/>
                  </a:lnTo>
                  <a:lnTo>
                    <a:pt x="487827" y="917810"/>
                  </a:lnTo>
                  <a:lnTo>
                    <a:pt x="768335" y="432032"/>
                  </a:lnTo>
                  <a:close/>
                  <a:moveTo>
                    <a:pt x="3042369" y="431534"/>
                  </a:moveTo>
                  <a:lnTo>
                    <a:pt x="3322599" y="916979"/>
                  </a:lnTo>
                  <a:lnTo>
                    <a:pt x="3041704" y="1403366"/>
                  </a:lnTo>
                  <a:lnTo>
                    <a:pt x="2481187" y="1403366"/>
                  </a:lnTo>
                  <a:lnTo>
                    <a:pt x="2200569" y="917422"/>
                  </a:lnTo>
                  <a:lnTo>
                    <a:pt x="2481021" y="431534"/>
                  </a:lnTo>
                  <a:close/>
                  <a:moveTo>
                    <a:pt x="4754335" y="431534"/>
                  </a:moveTo>
                  <a:lnTo>
                    <a:pt x="5034898" y="917477"/>
                  </a:lnTo>
                  <a:lnTo>
                    <a:pt x="4754169" y="1403366"/>
                  </a:lnTo>
                  <a:lnTo>
                    <a:pt x="4193043" y="1403366"/>
                  </a:lnTo>
                  <a:lnTo>
                    <a:pt x="3912701" y="917810"/>
                  </a:lnTo>
                  <a:lnTo>
                    <a:pt x="4193541" y="431534"/>
                  </a:lnTo>
                  <a:close/>
                  <a:moveTo>
                    <a:pt x="6467243" y="431090"/>
                  </a:moveTo>
                  <a:lnTo>
                    <a:pt x="6747695" y="916979"/>
                  </a:lnTo>
                  <a:lnTo>
                    <a:pt x="6693400" y="1011054"/>
                  </a:lnTo>
                  <a:lnTo>
                    <a:pt x="6467077" y="1403033"/>
                  </a:lnTo>
                  <a:lnTo>
                    <a:pt x="5905729" y="1403033"/>
                  </a:lnTo>
                  <a:lnTo>
                    <a:pt x="5625166" y="916979"/>
                  </a:lnTo>
                  <a:lnTo>
                    <a:pt x="5905674" y="431090"/>
                  </a:lnTo>
                  <a:close/>
                  <a:moveTo>
                    <a:pt x="8179874" y="431035"/>
                  </a:moveTo>
                  <a:lnTo>
                    <a:pt x="8460326" y="916812"/>
                  </a:lnTo>
                  <a:lnTo>
                    <a:pt x="8179818" y="1402867"/>
                  </a:lnTo>
                  <a:lnTo>
                    <a:pt x="7618582" y="1402867"/>
                  </a:lnTo>
                  <a:lnTo>
                    <a:pt x="7337963" y="916812"/>
                  </a:lnTo>
                  <a:lnTo>
                    <a:pt x="7618471" y="431035"/>
                  </a:lnTo>
                  <a:close/>
                  <a:moveTo>
                    <a:pt x="9892505" y="430592"/>
                  </a:moveTo>
                  <a:lnTo>
                    <a:pt x="10173123" y="916536"/>
                  </a:lnTo>
                  <a:lnTo>
                    <a:pt x="9892560" y="1402534"/>
                  </a:lnTo>
                  <a:lnTo>
                    <a:pt x="9331323" y="1402534"/>
                  </a:lnTo>
                  <a:lnTo>
                    <a:pt x="9050650" y="916424"/>
                  </a:lnTo>
                  <a:lnTo>
                    <a:pt x="9331157" y="430592"/>
                  </a:lnTo>
                  <a:close/>
                  <a:moveTo>
                    <a:pt x="11863054" y="0"/>
                  </a:moveTo>
                  <a:lnTo>
                    <a:pt x="11843939" y="0"/>
                  </a:lnTo>
                  <a:lnTo>
                    <a:pt x="11604970" y="413916"/>
                  </a:lnTo>
                  <a:lnTo>
                    <a:pt x="11043788" y="413916"/>
                  </a:lnTo>
                  <a:lnTo>
                    <a:pt x="10804853" y="0"/>
                  </a:lnTo>
                  <a:lnTo>
                    <a:pt x="10785529" y="0"/>
                  </a:lnTo>
                  <a:lnTo>
                    <a:pt x="11029217" y="422170"/>
                  </a:lnTo>
                  <a:lnTo>
                    <a:pt x="10748654" y="908114"/>
                  </a:lnTo>
                  <a:lnTo>
                    <a:pt x="10187639" y="908114"/>
                  </a:lnTo>
                  <a:lnTo>
                    <a:pt x="9906965" y="421949"/>
                  </a:lnTo>
                  <a:lnTo>
                    <a:pt x="10150539" y="0"/>
                  </a:lnTo>
                  <a:lnTo>
                    <a:pt x="10131190" y="0"/>
                  </a:lnTo>
                  <a:lnTo>
                    <a:pt x="9892339" y="413638"/>
                  </a:lnTo>
                  <a:lnTo>
                    <a:pt x="9330991" y="413638"/>
                  </a:lnTo>
                  <a:lnTo>
                    <a:pt x="9092139" y="0"/>
                  </a:lnTo>
                  <a:lnTo>
                    <a:pt x="9072826" y="0"/>
                  </a:lnTo>
                  <a:lnTo>
                    <a:pt x="9316642" y="422392"/>
                  </a:lnTo>
                  <a:lnTo>
                    <a:pt x="9036189" y="908170"/>
                  </a:lnTo>
                  <a:lnTo>
                    <a:pt x="8474731" y="908170"/>
                  </a:lnTo>
                  <a:lnTo>
                    <a:pt x="8194168" y="422503"/>
                  </a:lnTo>
                  <a:lnTo>
                    <a:pt x="8438136" y="0"/>
                  </a:lnTo>
                  <a:lnTo>
                    <a:pt x="8418811" y="0"/>
                  </a:lnTo>
                  <a:lnTo>
                    <a:pt x="8179597" y="414303"/>
                  </a:lnTo>
                  <a:lnTo>
                    <a:pt x="7618582" y="414303"/>
                  </a:lnTo>
                  <a:lnTo>
                    <a:pt x="7379274" y="0"/>
                  </a:lnTo>
                  <a:lnTo>
                    <a:pt x="7359940" y="0"/>
                  </a:lnTo>
                  <a:lnTo>
                    <a:pt x="7603955" y="422558"/>
                  </a:lnTo>
                  <a:lnTo>
                    <a:pt x="7323337" y="908447"/>
                  </a:lnTo>
                  <a:lnTo>
                    <a:pt x="6762100" y="908447"/>
                  </a:lnTo>
                  <a:lnTo>
                    <a:pt x="6481482" y="422503"/>
                  </a:lnTo>
                  <a:lnTo>
                    <a:pt x="6725445" y="0"/>
                  </a:lnTo>
                  <a:lnTo>
                    <a:pt x="6706132" y="0"/>
                  </a:lnTo>
                  <a:lnTo>
                    <a:pt x="6466910" y="414303"/>
                  </a:lnTo>
                  <a:lnTo>
                    <a:pt x="5905508" y="414303"/>
                  </a:lnTo>
                  <a:lnTo>
                    <a:pt x="5666338" y="0"/>
                  </a:lnTo>
                  <a:lnTo>
                    <a:pt x="5646974" y="0"/>
                  </a:lnTo>
                  <a:lnTo>
                    <a:pt x="5891214" y="422946"/>
                  </a:lnTo>
                  <a:lnTo>
                    <a:pt x="5618463" y="895261"/>
                  </a:lnTo>
                  <a:lnTo>
                    <a:pt x="5610706" y="908835"/>
                  </a:lnTo>
                  <a:lnTo>
                    <a:pt x="5049192" y="908835"/>
                  </a:lnTo>
                  <a:lnTo>
                    <a:pt x="4769017" y="423556"/>
                  </a:lnTo>
                  <a:lnTo>
                    <a:pt x="5013591" y="0"/>
                  </a:lnTo>
                  <a:lnTo>
                    <a:pt x="4993649" y="0"/>
                  </a:lnTo>
                  <a:lnTo>
                    <a:pt x="4754058" y="414857"/>
                  </a:lnTo>
                  <a:lnTo>
                    <a:pt x="4193652" y="414857"/>
                  </a:lnTo>
                  <a:lnTo>
                    <a:pt x="3954146" y="0"/>
                  </a:lnTo>
                  <a:lnTo>
                    <a:pt x="3934827" y="0"/>
                  </a:lnTo>
                  <a:lnTo>
                    <a:pt x="4178860" y="422669"/>
                  </a:lnTo>
                  <a:lnTo>
                    <a:pt x="3898186" y="909056"/>
                  </a:lnTo>
                  <a:lnTo>
                    <a:pt x="3337503" y="909056"/>
                  </a:lnTo>
                  <a:lnTo>
                    <a:pt x="3056829" y="422946"/>
                  </a:lnTo>
                  <a:lnTo>
                    <a:pt x="3300979" y="0"/>
                  </a:lnTo>
                  <a:lnTo>
                    <a:pt x="3281513" y="0"/>
                  </a:lnTo>
                  <a:lnTo>
                    <a:pt x="3042203" y="414691"/>
                  </a:lnTo>
                  <a:lnTo>
                    <a:pt x="2480855" y="414691"/>
                  </a:lnTo>
                  <a:lnTo>
                    <a:pt x="2241403" y="0"/>
                  </a:lnTo>
                  <a:lnTo>
                    <a:pt x="2222087" y="0"/>
                  </a:lnTo>
                  <a:lnTo>
                    <a:pt x="2466505" y="423389"/>
                  </a:lnTo>
                  <a:lnTo>
                    <a:pt x="2214697" y="859580"/>
                  </a:lnTo>
                  <a:lnTo>
                    <a:pt x="2186053" y="909278"/>
                  </a:lnTo>
                  <a:lnTo>
                    <a:pt x="1624539" y="909278"/>
                  </a:lnTo>
                  <a:lnTo>
                    <a:pt x="1344087" y="423445"/>
                  </a:lnTo>
                  <a:lnTo>
                    <a:pt x="1588559" y="0"/>
                  </a:lnTo>
                  <a:lnTo>
                    <a:pt x="1569223" y="0"/>
                  </a:lnTo>
                  <a:lnTo>
                    <a:pt x="1329461" y="415301"/>
                  </a:lnTo>
                  <a:lnTo>
                    <a:pt x="768446" y="415301"/>
                  </a:lnTo>
                  <a:lnTo>
                    <a:pt x="528589" y="0"/>
                  </a:lnTo>
                  <a:lnTo>
                    <a:pt x="509180" y="0"/>
                  </a:lnTo>
                  <a:lnTo>
                    <a:pt x="753764" y="423667"/>
                  </a:lnTo>
                  <a:lnTo>
                    <a:pt x="473201" y="909444"/>
                  </a:lnTo>
                  <a:lnTo>
                    <a:pt x="0" y="909444"/>
                  </a:lnTo>
                  <a:lnTo>
                    <a:pt x="0" y="926120"/>
                  </a:lnTo>
                  <a:lnTo>
                    <a:pt x="473201" y="926120"/>
                  </a:lnTo>
                  <a:lnTo>
                    <a:pt x="754041" y="1412285"/>
                  </a:lnTo>
                  <a:lnTo>
                    <a:pt x="473533" y="1898063"/>
                  </a:lnTo>
                  <a:lnTo>
                    <a:pt x="0" y="1898063"/>
                  </a:lnTo>
                  <a:lnTo>
                    <a:pt x="0" y="1914850"/>
                  </a:lnTo>
                  <a:lnTo>
                    <a:pt x="473533" y="1914850"/>
                  </a:lnTo>
                  <a:lnTo>
                    <a:pt x="753875" y="2400517"/>
                  </a:lnTo>
                  <a:lnTo>
                    <a:pt x="473201" y="2886737"/>
                  </a:lnTo>
                  <a:lnTo>
                    <a:pt x="0" y="2886737"/>
                  </a:lnTo>
                  <a:lnTo>
                    <a:pt x="0" y="2903414"/>
                  </a:lnTo>
                  <a:lnTo>
                    <a:pt x="472924" y="2903414"/>
                  </a:lnTo>
                  <a:lnTo>
                    <a:pt x="753597" y="3389579"/>
                  </a:lnTo>
                  <a:lnTo>
                    <a:pt x="473201" y="3875245"/>
                  </a:lnTo>
                  <a:lnTo>
                    <a:pt x="0" y="3875245"/>
                  </a:lnTo>
                  <a:lnTo>
                    <a:pt x="0" y="3892032"/>
                  </a:lnTo>
                  <a:lnTo>
                    <a:pt x="473367" y="3892032"/>
                  </a:lnTo>
                  <a:lnTo>
                    <a:pt x="753875" y="4377921"/>
                  </a:lnTo>
                  <a:lnTo>
                    <a:pt x="473201" y="4863975"/>
                  </a:lnTo>
                  <a:lnTo>
                    <a:pt x="0" y="4863975"/>
                  </a:lnTo>
                  <a:lnTo>
                    <a:pt x="0" y="4880651"/>
                  </a:lnTo>
                  <a:lnTo>
                    <a:pt x="473422" y="4880651"/>
                  </a:lnTo>
                  <a:lnTo>
                    <a:pt x="754041" y="5366650"/>
                  </a:lnTo>
                  <a:lnTo>
                    <a:pt x="473478" y="5852538"/>
                  </a:lnTo>
                  <a:lnTo>
                    <a:pt x="0" y="5852538"/>
                  </a:lnTo>
                  <a:lnTo>
                    <a:pt x="0" y="5869436"/>
                  </a:lnTo>
                  <a:lnTo>
                    <a:pt x="473699" y="5869436"/>
                  </a:lnTo>
                  <a:lnTo>
                    <a:pt x="754262" y="6355158"/>
                  </a:lnTo>
                  <a:lnTo>
                    <a:pt x="473644" y="6841324"/>
                  </a:lnTo>
                  <a:lnTo>
                    <a:pt x="0" y="6841324"/>
                  </a:lnTo>
                  <a:lnTo>
                    <a:pt x="0" y="6858000"/>
                  </a:lnTo>
                  <a:lnTo>
                    <a:pt x="483173" y="6858000"/>
                  </a:lnTo>
                  <a:lnTo>
                    <a:pt x="773377" y="6355214"/>
                  </a:lnTo>
                  <a:lnTo>
                    <a:pt x="487938" y="5860849"/>
                  </a:lnTo>
                  <a:lnTo>
                    <a:pt x="773266" y="5366761"/>
                  </a:lnTo>
                  <a:lnTo>
                    <a:pt x="487716" y="4872175"/>
                  </a:lnTo>
                  <a:lnTo>
                    <a:pt x="773099" y="4378031"/>
                  </a:lnTo>
                  <a:lnTo>
                    <a:pt x="487606" y="3883611"/>
                  </a:lnTo>
                  <a:lnTo>
                    <a:pt x="768002" y="3398111"/>
                  </a:lnTo>
                  <a:lnTo>
                    <a:pt x="1338990" y="3398111"/>
                  </a:lnTo>
                  <a:lnTo>
                    <a:pt x="1624539" y="2903469"/>
                  </a:lnTo>
                  <a:lnTo>
                    <a:pt x="2185943" y="2903469"/>
                  </a:lnTo>
                  <a:lnTo>
                    <a:pt x="2466505" y="3389246"/>
                  </a:lnTo>
                  <a:lnTo>
                    <a:pt x="2185887" y="3875245"/>
                  </a:lnTo>
                  <a:lnTo>
                    <a:pt x="1615010" y="3875245"/>
                  </a:lnTo>
                  <a:lnTo>
                    <a:pt x="1324807" y="4378031"/>
                  </a:lnTo>
                  <a:lnTo>
                    <a:pt x="1610245" y="4872396"/>
                  </a:lnTo>
                  <a:lnTo>
                    <a:pt x="1324973" y="5366595"/>
                  </a:lnTo>
                  <a:lnTo>
                    <a:pt x="1615232" y="5869215"/>
                  </a:lnTo>
                  <a:lnTo>
                    <a:pt x="2195693" y="5869215"/>
                  </a:lnTo>
                  <a:lnTo>
                    <a:pt x="2485952" y="5366539"/>
                  </a:lnTo>
                  <a:lnTo>
                    <a:pt x="2200403" y="4872064"/>
                  </a:lnTo>
                  <a:lnTo>
                    <a:pt x="2481021" y="4386120"/>
                  </a:lnTo>
                  <a:lnTo>
                    <a:pt x="3042369" y="4386120"/>
                  </a:lnTo>
                  <a:lnTo>
                    <a:pt x="3327641" y="4880263"/>
                  </a:lnTo>
                  <a:lnTo>
                    <a:pt x="3908214" y="4880263"/>
                  </a:lnTo>
                  <a:lnTo>
                    <a:pt x="4193541" y="4386120"/>
                  </a:lnTo>
                  <a:lnTo>
                    <a:pt x="4764474" y="4386120"/>
                  </a:lnTo>
                  <a:lnTo>
                    <a:pt x="5050023" y="3891478"/>
                  </a:lnTo>
                  <a:lnTo>
                    <a:pt x="5620734" y="3891478"/>
                  </a:lnTo>
                  <a:lnTo>
                    <a:pt x="5906173" y="3396948"/>
                  </a:lnTo>
                  <a:lnTo>
                    <a:pt x="6476938" y="3396948"/>
                  </a:lnTo>
                  <a:lnTo>
                    <a:pt x="6762488" y="2902416"/>
                  </a:lnTo>
                  <a:lnTo>
                    <a:pt x="7333199" y="2902416"/>
                  </a:lnTo>
                  <a:lnTo>
                    <a:pt x="7618637" y="2408218"/>
                  </a:lnTo>
                  <a:lnTo>
                    <a:pt x="8189569" y="2408218"/>
                  </a:lnTo>
                  <a:lnTo>
                    <a:pt x="8475063" y="1913631"/>
                  </a:lnTo>
                  <a:lnTo>
                    <a:pt x="9045830" y="1913631"/>
                  </a:lnTo>
                  <a:lnTo>
                    <a:pt x="9331379" y="1419100"/>
                  </a:lnTo>
                  <a:lnTo>
                    <a:pt x="9902145" y="1419100"/>
                  </a:lnTo>
                  <a:lnTo>
                    <a:pt x="10187584" y="924680"/>
                  </a:lnTo>
                  <a:lnTo>
                    <a:pt x="10758184" y="924680"/>
                  </a:lnTo>
                  <a:lnTo>
                    <a:pt x="11043511" y="430537"/>
                  </a:lnTo>
                  <a:lnTo>
                    <a:pt x="11614444" y="430537"/>
                  </a:lnTo>
                  <a:close/>
                </a:path>
              </a:pathLst>
            </a:custGeom>
            <a:solidFill>
              <a:schemeClr val="accent5">
                <a:alpha val="2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9" name="Picture 19" descr="Gavi-logo - The Rockefeller Foundation">
            <a:extLst>
              <a:ext uri="{FF2B5EF4-FFF2-40B4-BE49-F238E27FC236}">
                <a16:creationId xmlns:a16="http://schemas.microsoft.com/office/drawing/2014/main" id="{91670609-4AC7-4755-883F-480F58726A64}"/>
              </a:ext>
            </a:extLst>
          </p:cNvPr>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r="-945"/>
          <a:stretch/>
        </p:blipFill>
        <p:spPr bwMode="ltGray">
          <a:xfrm>
            <a:off x="525802" y="2586861"/>
            <a:ext cx="1525462" cy="566694"/>
          </a:xfrm>
          <a:prstGeom prst="rect">
            <a:avLst/>
          </a:prstGeom>
          <a:extLst>
            <a:ext uri="{909E8E84-426E-40DD-AFC4-6F175D3DCCD1}">
              <a14:hiddenFill xmlns:a14="http://schemas.microsoft.com/office/drawing/2010/main">
                <a:solidFill>
                  <a:srgbClr val="FFFFFF"/>
                </a:solidFill>
              </a14:hiddenFill>
            </a:ext>
          </a:extLst>
        </p:spPr>
      </p:pic>
      <p:pic>
        <p:nvPicPr>
          <p:cNvPr id="21" name="Picture 20" descr="World Health Organization (WHO) – Logos Download">
            <a:extLst>
              <a:ext uri="{FF2B5EF4-FFF2-40B4-BE49-F238E27FC236}">
                <a16:creationId xmlns:a16="http://schemas.microsoft.com/office/drawing/2014/main" id="{1BB7E67F-B980-424D-BC88-EA4118E7E985}"/>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ltGray">
          <a:xfrm>
            <a:off x="2533703" y="2578553"/>
            <a:ext cx="2135706" cy="630143"/>
          </a:xfrm>
          <a:prstGeom prst="rect">
            <a:avLst/>
          </a:prstGeom>
          <a:extLst>
            <a:ext uri="{909E8E84-426E-40DD-AFC4-6F175D3DCCD1}">
              <a14:hiddenFill xmlns:a14="http://schemas.microsoft.com/office/drawing/2010/main">
                <a:solidFill>
                  <a:srgbClr val="FFFFFF"/>
                </a:solidFill>
              </a14:hiddenFill>
            </a:ext>
          </a:extLst>
        </p:spPr>
      </p:pic>
      <p:pic>
        <p:nvPicPr>
          <p:cNvPr id="22" name="Picture 23" descr="Coalition for Epidemic Preparedness Innovations - Wikiwand">
            <a:extLst>
              <a:ext uri="{FF2B5EF4-FFF2-40B4-BE49-F238E27FC236}">
                <a16:creationId xmlns:a16="http://schemas.microsoft.com/office/drawing/2014/main" id="{C31E93E6-D8A7-4DA5-A473-05691AC87B5D}"/>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ltGray">
          <a:xfrm>
            <a:off x="525802" y="1783462"/>
            <a:ext cx="1354280" cy="398160"/>
          </a:xfrm>
          <a:prstGeom prst="rect">
            <a:avLst/>
          </a:prstGeom>
          <a:extLst>
            <a:ext uri="{909E8E84-426E-40DD-AFC4-6F175D3DCCD1}">
              <a14:hiddenFill xmlns:a14="http://schemas.microsoft.com/office/drawing/2010/main">
                <a:solidFill>
                  <a:srgbClr val="FFFFFF"/>
                </a:solidFill>
              </a14:hiddenFill>
            </a:ext>
          </a:extLst>
        </p:spPr>
      </p:pic>
      <p:sp>
        <p:nvSpPr>
          <p:cNvPr id="23" name="Documenttype">
            <a:extLst>
              <a:ext uri="{FF2B5EF4-FFF2-40B4-BE49-F238E27FC236}">
                <a16:creationId xmlns:a16="http://schemas.microsoft.com/office/drawing/2014/main" id="{7D74A622-9FEC-47DB-8F82-F0FB23E22767}"/>
              </a:ext>
            </a:extLst>
          </p:cNvPr>
          <p:cNvSpPr>
            <a:spLocks noGrp="1"/>
          </p:cNvSpPr>
          <p:nvPr>
            <p:ph type="body" sz="quarter" idx="13" hasCustomPrompt="1"/>
            <p:custDataLst>
              <p:tags r:id="rId4"/>
            </p:custDataLst>
          </p:nvPr>
        </p:nvSpPr>
        <p:spPr>
          <a:xfrm>
            <a:off x="525802" y="6312004"/>
            <a:ext cx="66031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24" name="Subtitle">
            <a:extLst>
              <a:ext uri="{FF2B5EF4-FFF2-40B4-BE49-F238E27FC236}">
                <a16:creationId xmlns:a16="http://schemas.microsoft.com/office/drawing/2014/main" id="{D05A6F9C-2B50-4D01-8CEE-A681E5B79C2D}"/>
              </a:ext>
            </a:extLst>
          </p:cNvPr>
          <p:cNvSpPr>
            <a:spLocks noGrp="1"/>
          </p:cNvSpPr>
          <p:nvPr>
            <p:ph type="subTitle" idx="1"/>
            <p:custDataLst>
              <p:tags r:id="rId5"/>
            </p:custDataLst>
          </p:nvPr>
        </p:nvSpPr>
        <p:spPr>
          <a:xfrm>
            <a:off x="525802" y="5901632"/>
            <a:ext cx="66031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endParaRPr lang="en-US" dirty="0"/>
          </a:p>
        </p:txBody>
      </p:sp>
      <p:sp>
        <p:nvSpPr>
          <p:cNvPr id="25" name="Title">
            <a:extLst>
              <a:ext uri="{FF2B5EF4-FFF2-40B4-BE49-F238E27FC236}">
                <a16:creationId xmlns:a16="http://schemas.microsoft.com/office/drawing/2014/main" id="{4A0C779C-C2FF-4A27-A2DA-A54B7440BBDE}"/>
              </a:ext>
            </a:extLst>
          </p:cNvPr>
          <p:cNvSpPr>
            <a:spLocks noGrp="1"/>
          </p:cNvSpPr>
          <p:nvPr>
            <p:ph type="title"/>
            <p:custDataLst>
              <p:tags r:id="rId6"/>
            </p:custDataLst>
          </p:nvPr>
        </p:nvSpPr>
        <p:spPr>
          <a:xfrm>
            <a:off x="525802" y="3952377"/>
            <a:ext cx="6603131"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11769942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21511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8105"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2142"/>
            <a:ext cx="1108252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53414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6219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912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69332"/>
          </a:xfrm>
        </p:spPr>
        <p:txBody>
          <a:bodyPr>
            <a:spAutoFit/>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Oval 10">
            <a:extLst>
              <a:ext uri="{FF2B5EF4-FFF2-40B4-BE49-F238E27FC236}">
                <a16:creationId xmlns:a16="http://schemas.microsoft.com/office/drawing/2014/main" id="{97F1AC84-6DFB-4987-8CB6-D62E3F5563A0}"/>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a:latin typeface="Georgia" panose="02040502050405020303" pitchFamily="18" charset="0"/>
              <a:sym typeface="Georgia" panose="02040502050405020303" pitchFamily="18"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noProof="0" smtClean="0">
                <a:cs typeface="Arial" panose="020B0604020202020204" pitchFamily="34" charset="0"/>
              </a:rPr>
              <a:pPr lvl="0" algn="ctr" defTabSz="610744" fontAlgn="auto">
                <a:spcBef>
                  <a:spcPts val="0"/>
                </a:spcBef>
                <a:spcAft>
                  <a:spcPts val="0"/>
                </a:spcAft>
              </a:pPr>
              <a:t>‹#›</a:t>
            </a:fld>
            <a:endParaRPr lang="en-US" sz="900" b="0" noProof="0" dirty="0">
              <a:cs typeface="Arial" panose="020B0604020202020204" pitchFamily="34" charset="0"/>
            </a:endParaRPr>
          </a:p>
        </p:txBody>
      </p:sp>
    </p:spTree>
    <p:extLst>
      <p:ext uri="{BB962C8B-B14F-4D97-AF65-F5344CB8AC3E}">
        <p14:creationId xmlns:p14="http://schemas.microsoft.com/office/powerpoint/2010/main" val="9448789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_Blue">
    <p:spTree>
      <p:nvGrpSpPr>
        <p:cNvPr id="1" name=""/>
        <p:cNvGrpSpPr/>
        <p:nvPr/>
      </p:nvGrpSpPr>
      <p:grpSpPr>
        <a:xfrm>
          <a:off x="0" y="0"/>
          <a:ext cx="0" cy="0"/>
          <a:chOff x="0" y="0"/>
          <a:chExt cx="0" cy="0"/>
        </a:xfrm>
      </p:grpSpPr>
      <p:pic>
        <p:nvPicPr>
          <p:cNvPr id="17" name="Imag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pic>
        <p:nvPicPr>
          <p:cNvPr id="13" name="Image 12" descr="Bas_couv.png"/>
          <p:cNvPicPr>
            <a:picLocks noChangeAspect="1"/>
          </p:cNvPicPr>
          <p:nvPr userDrawn="1"/>
        </p:nvPicPr>
        <p:blipFill>
          <a:blip r:embed="rId3" cstate="print"/>
          <a:srcRect r="60243" b="722"/>
          <a:stretch>
            <a:fillRect/>
          </a:stretch>
        </p:blipFill>
        <p:spPr bwMode="gray">
          <a:xfrm>
            <a:off x="251520" y="5213040"/>
            <a:ext cx="3416493" cy="1584000"/>
          </a:xfrm>
          <a:prstGeom prst="rect">
            <a:avLst/>
          </a:prstGeom>
        </p:spPr>
      </p:pic>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72000" y="3585600"/>
            <a:ext cx="6384000" cy="1478400"/>
          </a:xfrm>
        </p:spPr>
        <p:txBody>
          <a:bodyPr anchor="t" anchorCtr="0"/>
          <a:lstStyle>
            <a:lvl1pPr marL="0" indent="0" algn="l">
              <a:lnSpc>
                <a:spcPct val="90000"/>
              </a:lnSpc>
              <a:buNone/>
              <a:defRPr sz="2667" b="0"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SUBTITLE</a:t>
            </a:r>
          </a:p>
        </p:txBody>
      </p:sp>
      <p:sp>
        <p:nvSpPr>
          <p:cNvPr id="10" name="Espace réservé de la date 9"/>
          <p:cNvSpPr>
            <a:spLocks noGrp="1"/>
          </p:cNvSpPr>
          <p:nvPr>
            <p:ph type="dt" sz="half" idx="15"/>
          </p:nvPr>
        </p:nvSpPr>
        <p:spPr bwMode="gray"/>
        <p:txBody>
          <a:bodyPr/>
          <a:lstStyle/>
          <a:p>
            <a:r>
              <a:rPr lang="en-GB" noProof="0"/>
              <a:t>Date</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2" name="Espace réservé du pied de page 11"/>
          <p:cNvSpPr>
            <a:spLocks noGrp="1"/>
          </p:cNvSpPr>
          <p:nvPr>
            <p:ph type="ftr" sz="quarter" idx="17"/>
          </p:nvPr>
        </p:nvSpPr>
        <p:spPr bwMode="gray">
          <a:xfrm>
            <a:off x="672000" y="585600"/>
            <a:ext cx="6384000" cy="360000"/>
          </a:xfrm>
        </p:spPr>
        <p:txBody>
          <a:bodyPr/>
          <a:lstStyle>
            <a:lvl1pPr algn="l">
              <a:defRPr sz="2400" b="0">
                <a:solidFill>
                  <a:schemeClr val="bg1"/>
                </a:solidFill>
              </a:defRPr>
            </a:lvl1pPr>
          </a:lstStyle>
          <a:p>
            <a:r>
              <a:rPr lang="en-GB" noProof="0"/>
              <a:t>#add your hashtag</a:t>
            </a:r>
          </a:p>
        </p:txBody>
      </p:sp>
      <p:sp>
        <p:nvSpPr>
          <p:cNvPr id="15" name="Espace réservé du texte 14"/>
          <p:cNvSpPr>
            <a:spLocks noGrp="1"/>
          </p:cNvSpPr>
          <p:nvPr>
            <p:ph type="body" sz="quarter" idx="19" hasCustomPrompt="1"/>
          </p:nvPr>
        </p:nvSpPr>
        <p:spPr bwMode="gray">
          <a:xfrm>
            <a:off x="5592000" y="5899200"/>
            <a:ext cx="5884800" cy="326400"/>
          </a:xfrm>
        </p:spPr>
        <p:txBody>
          <a:bodyPr anchor="b" anchorCtr="0"/>
          <a:lstStyle>
            <a:lvl1pPr algn="r">
              <a:lnSpc>
                <a:spcPct val="100000"/>
              </a:lnSpc>
              <a:defRPr sz="1200" b="1">
                <a:solidFill>
                  <a:schemeClr val="accent2"/>
                </a:solidFill>
              </a:defRPr>
            </a:lvl1pPr>
          </a:lstStyle>
          <a:p>
            <a:pPr lvl="0"/>
            <a:r>
              <a:rPr lang="en-GB" noProof="0"/>
              <a:t>Write your claim here</a:t>
            </a:r>
          </a:p>
        </p:txBody>
      </p:sp>
      <p:sp>
        <p:nvSpPr>
          <p:cNvPr id="16" name="Rectangle 15"/>
          <p:cNvSpPr/>
          <p:nvPr userDrawn="1"/>
        </p:nvSpPr>
        <p:spPr bwMode="gray">
          <a:xfrm>
            <a:off x="5592000" y="6283200"/>
            <a:ext cx="58848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8" name="Rectangle 17"/>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12301789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4" name="Imag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pic>
        <p:nvPicPr>
          <p:cNvPr id="23" name="Image 22" descr="Bas_couv.png"/>
          <p:cNvPicPr>
            <a:picLocks noChangeAspect="1"/>
          </p:cNvPicPr>
          <p:nvPr userDrawn="1"/>
        </p:nvPicPr>
        <p:blipFill>
          <a:blip r:embed="rId3" cstate="print"/>
          <a:srcRect r="60243" b="722"/>
          <a:stretch>
            <a:fillRect/>
          </a:stretch>
        </p:blipFill>
        <p:spPr bwMode="gray">
          <a:xfrm>
            <a:off x="251520" y="5213040"/>
            <a:ext cx="3416493" cy="1584000"/>
          </a:xfrm>
          <a:prstGeom prst="rect">
            <a:avLst/>
          </a:prstGeom>
        </p:spPr>
      </p:pic>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72000" y="3585600"/>
            <a:ext cx="6384000" cy="1479600"/>
          </a:xfrm>
        </p:spPr>
        <p:txBody>
          <a:bodyPr anchor="t" anchorCtr="0"/>
          <a:lstStyle>
            <a:lvl1pPr marL="0" indent="0" algn="l">
              <a:lnSpc>
                <a:spcPct val="90000"/>
              </a:lnSpc>
              <a:buNone/>
              <a:defRPr sz="2667" b="0"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SUBTITLE</a:t>
            </a:r>
          </a:p>
        </p:txBody>
      </p:sp>
      <p:sp>
        <p:nvSpPr>
          <p:cNvPr id="10" name="Espace réservé de la date 9"/>
          <p:cNvSpPr>
            <a:spLocks noGrp="1"/>
          </p:cNvSpPr>
          <p:nvPr>
            <p:ph type="dt" sz="half" idx="15"/>
          </p:nvPr>
        </p:nvSpPr>
        <p:spPr bwMode="gray"/>
        <p:txBody>
          <a:bodyPr/>
          <a:lstStyle/>
          <a:p>
            <a:r>
              <a:rPr lang="en-GB" noProof="0"/>
              <a:t>Date</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2" name="Espace réservé du pied de page 11"/>
          <p:cNvSpPr>
            <a:spLocks noGrp="1"/>
          </p:cNvSpPr>
          <p:nvPr>
            <p:ph type="ftr" sz="quarter" idx="17"/>
          </p:nvPr>
        </p:nvSpPr>
        <p:spPr bwMode="gray">
          <a:xfrm>
            <a:off x="672000" y="585600"/>
            <a:ext cx="6384000" cy="360000"/>
          </a:xfrm>
        </p:spPr>
        <p:txBody>
          <a:bodyPr/>
          <a:lstStyle>
            <a:lvl1pPr algn="l">
              <a:defRPr sz="2400" b="0">
                <a:solidFill>
                  <a:schemeClr val="bg1"/>
                </a:solidFill>
              </a:defRPr>
            </a:lvl1pPr>
          </a:lstStyle>
          <a:p>
            <a:r>
              <a:rPr lang="en-GB" noProof="0"/>
              <a:t>#add your hashtag</a:t>
            </a:r>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pPr lvl="0"/>
            <a:r>
              <a:rPr lang="en-GB" noProof="0"/>
              <a:t>Write your claim here</a:t>
            </a: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8" name="Espace réservé pour une image  25"/>
          <p:cNvSpPr>
            <a:spLocks noGrp="1"/>
          </p:cNvSpPr>
          <p:nvPr>
            <p:ph type="pic" sz="quarter" idx="10" hasCustomPrompt="1"/>
          </p:nvPr>
        </p:nvSpPr>
        <p:spPr>
          <a:xfrm>
            <a:off x="6821913" y="0"/>
            <a:ext cx="5370089" cy="51588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1219170" rtl="0" eaLnBrk="1" fontAlgn="auto" latinLnBrk="0" hangingPunct="1">
              <a:lnSpc>
                <a:spcPct val="110000"/>
              </a:lnSpc>
              <a:spcBef>
                <a:spcPts val="0"/>
              </a:spcBef>
              <a:spcAft>
                <a:spcPts val="0"/>
              </a:spcAft>
              <a:buClrTx/>
              <a:buSzTx/>
              <a:buFont typeface="Arial" pitchFamily="34" charset="0"/>
              <a:buNone/>
              <a:tabLst/>
              <a:defRPr sz="2000">
                <a:solidFill>
                  <a:schemeClr val="bg1"/>
                </a:solidFill>
              </a:defRPr>
            </a:lvl1pPr>
          </a:lstStyle>
          <a:p>
            <a:r>
              <a:rPr lang="en-GB" noProof="0"/>
              <a:t>Select your own photo</a:t>
            </a:r>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4758557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3453377" cy="6858000"/>
          </a:xfrm>
          <a:prstGeom prst="rect">
            <a:avLst/>
          </a:prstGeom>
        </p:spPr>
      </p:pic>
      <p:sp>
        <p:nvSpPr>
          <p:cNvPr id="2" name="Titre 1"/>
          <p:cNvSpPr>
            <a:spLocks noGrp="1"/>
          </p:cNvSpPr>
          <p:nvPr>
            <p:ph type="title" hasCustomPrompt="1"/>
          </p:nvPr>
        </p:nvSpPr>
        <p:spPr bwMode="gray">
          <a:xfrm>
            <a:off x="3672000" y="1037167"/>
            <a:ext cx="7368533" cy="1646864"/>
          </a:xfrm>
        </p:spPr>
        <p:txBody>
          <a:bodyPr/>
          <a:lstStyle/>
          <a:p>
            <a:r>
              <a:rPr lang="en-GB" noProof="0"/>
              <a:t>TITLE</a:t>
            </a:r>
          </a:p>
        </p:txBody>
      </p:sp>
      <p:sp>
        <p:nvSpPr>
          <p:cNvPr id="10" name="Espace réservé du texte 9"/>
          <p:cNvSpPr>
            <a:spLocks noGrp="1"/>
          </p:cNvSpPr>
          <p:nvPr>
            <p:ph type="body" sz="quarter" idx="13" hasCustomPrompt="1"/>
          </p:nvPr>
        </p:nvSpPr>
        <p:spPr bwMode="gray">
          <a:xfrm>
            <a:off x="3672000" y="2902572"/>
            <a:ext cx="7368533" cy="2903445"/>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texte 9"/>
          <p:cNvSpPr>
            <a:spLocks noGrp="1"/>
          </p:cNvSpPr>
          <p:nvPr>
            <p:ph type="body" sz="quarter" idx="14" hasCustomPrompt="1"/>
          </p:nvPr>
        </p:nvSpPr>
        <p:spPr bwMode="gray">
          <a:xfrm>
            <a:off x="0" y="1"/>
            <a:ext cx="2495211" cy="4990431"/>
          </a:xfrm>
        </p:spPr>
        <p:txBody>
          <a:bodyPr/>
          <a:lstStyle>
            <a:lvl1pPr algn="r">
              <a:defRPr sz="22133" b="1">
                <a:solidFill>
                  <a:schemeClr val="bg1"/>
                </a:solidFill>
              </a:defRPr>
            </a:lvl1pPr>
          </a:lstStyle>
          <a:p>
            <a:pPr lvl="0"/>
            <a:r>
              <a:rPr lang="en-GB" noProof="0"/>
              <a:t>0</a:t>
            </a:r>
          </a:p>
        </p:txBody>
      </p:sp>
      <p:sp>
        <p:nvSpPr>
          <p:cNvPr id="11" name="Espace réservé de la date 10"/>
          <p:cNvSpPr>
            <a:spLocks noGrp="1"/>
          </p:cNvSpPr>
          <p:nvPr>
            <p:ph type="dt" sz="half" idx="15"/>
          </p:nvPr>
        </p:nvSpPr>
        <p:spPr bwMode="gray"/>
        <p:txBody>
          <a:bodyPr/>
          <a:lstStyle/>
          <a:p>
            <a:r>
              <a:rPr lang="en-GB" noProof="0"/>
              <a:t>Date</a:t>
            </a:r>
          </a:p>
        </p:txBody>
      </p:sp>
      <p:sp>
        <p:nvSpPr>
          <p:cNvPr id="12" name="Espace réservé du numéro de diapositive 11"/>
          <p:cNvSpPr>
            <a:spLocks noGrp="1"/>
          </p:cNvSpPr>
          <p:nvPr>
            <p:ph type="sldNum" sz="quarter" idx="16"/>
          </p:nvPr>
        </p:nvSpPr>
        <p:spPr bwMode="gray"/>
        <p:txBody>
          <a:bodyPr/>
          <a:lstStyle/>
          <a:p>
            <a:pPr algn="l"/>
            <a:fld id="{733122C9-A0B9-462F-8757-0847AD287B63}" type="slidenum">
              <a:rPr lang="en-GB" noProof="0" smtClean="0"/>
              <a:pPr algn="l"/>
              <a:t>‹#›</a:t>
            </a:fld>
            <a:endParaRPr lang="en-GB" noProof="0"/>
          </a:p>
        </p:txBody>
      </p:sp>
      <p:sp>
        <p:nvSpPr>
          <p:cNvPr id="13" name="Espace réservé du pied de page 12"/>
          <p:cNvSpPr>
            <a:spLocks noGrp="1"/>
          </p:cNvSpPr>
          <p:nvPr>
            <p:ph type="ftr" sz="quarter" idx="17"/>
          </p:nvPr>
        </p:nvSpPr>
        <p:spPr bwMode="gray"/>
        <p:txBody>
          <a:bodyPr/>
          <a:lstStyle/>
          <a:p>
            <a:r>
              <a:rPr lang="en-GB" noProof="0"/>
              <a:t>#add your hashtag</a:t>
            </a:r>
          </a:p>
        </p:txBody>
      </p:sp>
      <p:sp>
        <p:nvSpPr>
          <p:cNvPr id="16" name="Rectangle 15"/>
          <p:cNvSpPr/>
          <p:nvPr userDrawn="1"/>
        </p:nvSpPr>
        <p:spPr bwMode="gray">
          <a:xfrm>
            <a:off x="3672000" y="2777245"/>
            <a:ext cx="1344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32071853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3200"/>
            <a:ext cx="10848000" cy="41904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de la date 12"/>
          <p:cNvSpPr>
            <a:spLocks noGrp="1"/>
          </p:cNvSpPr>
          <p:nvPr>
            <p:ph type="dt" sz="half" idx="10"/>
          </p:nvPr>
        </p:nvSpPr>
        <p:spPr bwMode="gray"/>
        <p:txBody>
          <a:bodyPr/>
          <a:lstStyle/>
          <a:p>
            <a:r>
              <a:rPr lang="en-GB" noProof="0"/>
              <a:t>Date</a:t>
            </a:r>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a:p>
        </p:txBody>
      </p:sp>
      <p:sp>
        <p:nvSpPr>
          <p:cNvPr id="15" name="Espace réservé du pied de page 14"/>
          <p:cNvSpPr>
            <a:spLocks noGrp="1"/>
          </p:cNvSpPr>
          <p:nvPr>
            <p:ph type="ftr" sz="quarter" idx="12"/>
          </p:nvPr>
        </p:nvSpPr>
        <p:spPr bwMode="gray"/>
        <p:txBody>
          <a:bodyPr/>
          <a:lstStyle/>
          <a:p>
            <a:r>
              <a:rPr lang="en-GB" noProof="0"/>
              <a:t>#add your hashtag</a:t>
            </a:r>
          </a:p>
        </p:txBody>
      </p:sp>
    </p:spTree>
    <p:extLst>
      <p:ext uri="{BB962C8B-B14F-4D97-AF65-F5344CB8AC3E}">
        <p14:creationId xmlns:p14="http://schemas.microsoft.com/office/powerpoint/2010/main" val="22796414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1875910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9628"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cs typeface="Arial" panose="020B0604020202020204" pitchFamily="34" charset="0"/>
              </a:rPr>
              <a:pPr lvl="0" algn="ctr" defTabSz="610744" fontAlgn="auto">
                <a:spcBef>
                  <a:spcPts val="0"/>
                </a:spcBef>
                <a:spcAft>
                  <a:spcPts val="0"/>
                </a:spcAft>
              </a:pPr>
              <a:t>‹#›</a:t>
            </a:fld>
            <a:endParaRPr lang="en-US" sz="900" b="0" dirty="0">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8524986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4357648" y="1607999"/>
            <a:ext cx="6960000" cy="41980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pour une image  8"/>
          <p:cNvSpPr>
            <a:spLocks noGrp="1"/>
          </p:cNvSpPr>
          <p:nvPr>
            <p:ph type="pic" sz="quarter" idx="13" hasCustomPrompt="1"/>
          </p:nvPr>
        </p:nvSpPr>
        <p:spPr bwMode="gray">
          <a:xfrm>
            <a:off x="0" y="1707856"/>
            <a:ext cx="4072411" cy="4098163"/>
          </a:xfrm>
        </p:spPr>
        <p:txBody>
          <a:bodyPr tIns="1008000" anchor="ctr" anchorCtr="0"/>
          <a:lstStyle>
            <a:lvl1pPr algn="ctr">
              <a:defRPr/>
            </a:lvl1pPr>
          </a:lstStyle>
          <a:p>
            <a:r>
              <a:rPr lang="en-GB" noProof="0"/>
              <a:t>Select your own photo</a:t>
            </a:r>
          </a:p>
        </p:txBody>
      </p:sp>
      <p:sp>
        <p:nvSpPr>
          <p:cNvPr id="8" name="Espace réservé de la date 7"/>
          <p:cNvSpPr>
            <a:spLocks noGrp="1"/>
          </p:cNvSpPr>
          <p:nvPr>
            <p:ph type="dt" sz="half" idx="14"/>
          </p:nvPr>
        </p:nvSpPr>
        <p:spPr bwMode="gray"/>
        <p:txBody>
          <a:bodyPr/>
          <a:lstStyle/>
          <a:p>
            <a:r>
              <a:rPr lang="en-GB" noProof="0"/>
              <a:t>Date</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du pied de page 11"/>
          <p:cNvSpPr>
            <a:spLocks noGrp="1"/>
          </p:cNvSpPr>
          <p:nvPr>
            <p:ph type="ftr" sz="quarter" idx="16"/>
          </p:nvPr>
        </p:nvSpPr>
        <p:spPr bwMode="gray"/>
        <p:txBody>
          <a:bodyPr/>
          <a:lstStyle/>
          <a:p>
            <a:r>
              <a:rPr lang="en-GB" noProof="0"/>
              <a:t>#add your hashtag</a:t>
            </a:r>
          </a:p>
        </p:txBody>
      </p:sp>
    </p:spTree>
    <p:extLst>
      <p:ext uri="{BB962C8B-B14F-4D97-AF65-F5344CB8AC3E}">
        <p14:creationId xmlns:p14="http://schemas.microsoft.com/office/powerpoint/2010/main" val="42655962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1"/>
            <a:ext cx="10848000" cy="1036637"/>
          </a:xfrm>
        </p:spPr>
        <p:txBody>
          <a:bodyPr/>
          <a:lstStyle/>
          <a:p>
            <a:r>
              <a:rPr lang="en-GB" noProof="0"/>
              <a:t>TITLE</a:t>
            </a:r>
          </a:p>
        </p:txBody>
      </p:sp>
      <p:sp>
        <p:nvSpPr>
          <p:cNvPr id="3" name="Espace réservé du contenu 2"/>
          <p:cNvSpPr>
            <a:spLocks noGrp="1"/>
          </p:cNvSpPr>
          <p:nvPr>
            <p:ph idx="1" hasCustomPrompt="1"/>
          </p:nvPr>
        </p:nvSpPr>
        <p:spPr bwMode="gray">
          <a:xfrm>
            <a:off x="672000" y="1603201"/>
            <a:ext cx="5424000" cy="4202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r>
              <a:rPr lang="en-GB" noProof="0"/>
              <a:t>Date</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2"/>
          </p:nvPr>
        </p:nvSpPr>
        <p:spPr bwMode="gray"/>
        <p:txBody>
          <a:bodyPr/>
          <a:lstStyle/>
          <a:p>
            <a:r>
              <a:rPr lang="en-GB" noProof="0"/>
              <a:t>#add your hashtag</a:t>
            </a:r>
          </a:p>
        </p:txBody>
      </p:sp>
      <p:sp>
        <p:nvSpPr>
          <p:cNvPr id="9" name="Espace réservé du contenu 2"/>
          <p:cNvSpPr>
            <a:spLocks noGrp="1"/>
          </p:cNvSpPr>
          <p:nvPr>
            <p:ph idx="13" hasCustomPrompt="1"/>
          </p:nvPr>
        </p:nvSpPr>
        <p:spPr bwMode="gray">
          <a:xfrm>
            <a:off x="6751499" y="1603201"/>
            <a:ext cx="4768501" cy="4202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9130909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672000" y="3309347"/>
            <a:ext cx="10848000" cy="2496671"/>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10848000" cy="1633779"/>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GB" noProof="0"/>
              <a:t>Dat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5" name="Titre 4"/>
          <p:cNvSpPr>
            <a:spLocks noGrp="1"/>
          </p:cNvSpPr>
          <p:nvPr>
            <p:ph type="title"/>
          </p:nvPr>
        </p:nvSpPr>
        <p:spPr/>
        <p:txBody>
          <a:bodyPr/>
          <a:lstStyle/>
          <a:p>
            <a:r>
              <a:rPr lang="en-US" noProof="0"/>
              <a:t>Click to edit Master title style</a:t>
            </a:r>
            <a:endParaRPr lang="en-GB" noProof="0"/>
          </a:p>
        </p:txBody>
      </p:sp>
    </p:spTree>
    <p:extLst>
      <p:ext uri="{BB962C8B-B14F-4D97-AF65-F5344CB8AC3E}">
        <p14:creationId xmlns:p14="http://schemas.microsoft.com/office/powerpoint/2010/main" val="38528938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amp;Content&amp;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1"/>
            <a:ext cx="6384967" cy="1036637"/>
          </a:xfrm>
        </p:spPr>
        <p:txBody>
          <a:bodyPr/>
          <a:lstStyle/>
          <a:p>
            <a:r>
              <a:rPr lang="en-GB" noProof="0"/>
              <a:t>TITLE</a:t>
            </a:r>
          </a:p>
        </p:txBody>
      </p:sp>
      <p:sp>
        <p:nvSpPr>
          <p:cNvPr id="3" name="Espace réservé du contenu 2"/>
          <p:cNvSpPr>
            <a:spLocks noGrp="1"/>
          </p:cNvSpPr>
          <p:nvPr>
            <p:ph idx="1" hasCustomPrompt="1"/>
          </p:nvPr>
        </p:nvSpPr>
        <p:spPr bwMode="gray">
          <a:xfrm>
            <a:off x="671999" y="3307201"/>
            <a:ext cx="6384967" cy="2498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6384967"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GB" noProof="0"/>
              <a:t>Dat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12" name="Espace réservé pour une image  8"/>
          <p:cNvSpPr>
            <a:spLocks noGrp="1"/>
          </p:cNvSpPr>
          <p:nvPr>
            <p:ph type="pic" sz="quarter" idx="17" hasCustomPrompt="1"/>
          </p:nvPr>
        </p:nvSpPr>
        <p:spPr bwMode="gray">
          <a:xfrm>
            <a:off x="7680176" y="753401"/>
            <a:ext cx="3839824" cy="5014516"/>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5379170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amp;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3309347"/>
            <a:ext cx="5424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10848000"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GB" noProof="0"/>
              <a:t>Dat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12" name="Espace réservé du contenu 2"/>
          <p:cNvSpPr>
            <a:spLocks noGrp="1"/>
          </p:cNvSpPr>
          <p:nvPr>
            <p:ph idx="17" hasCustomPrompt="1"/>
          </p:nvPr>
        </p:nvSpPr>
        <p:spPr bwMode="gray">
          <a:xfrm>
            <a:off x="6768000" y="3309347"/>
            <a:ext cx="475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20460219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amp;3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3307200"/>
            <a:ext cx="307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10848000"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GB" noProof="0"/>
              <a:t>Dat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13" name="Espace réservé du contenu 2"/>
          <p:cNvSpPr>
            <a:spLocks noGrp="1"/>
          </p:cNvSpPr>
          <p:nvPr>
            <p:ph idx="17" hasCustomPrompt="1"/>
          </p:nvPr>
        </p:nvSpPr>
        <p:spPr bwMode="gray">
          <a:xfrm>
            <a:off x="4167359" y="3307200"/>
            <a:ext cx="307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8" hasCustomPrompt="1"/>
          </p:nvPr>
        </p:nvSpPr>
        <p:spPr bwMode="gray">
          <a:xfrm>
            <a:off x="7646800" y="3307200"/>
            <a:ext cx="307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15831201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1"/>
            <a:ext cx="10848000" cy="1036637"/>
          </a:xfrm>
        </p:spPr>
        <p:txBody>
          <a:bodyPr/>
          <a:lstStyle/>
          <a:p>
            <a:r>
              <a:rPr lang="en-GB" noProof="0"/>
              <a:t>TITLE</a:t>
            </a:r>
          </a:p>
        </p:txBody>
      </p:sp>
      <p:sp>
        <p:nvSpPr>
          <p:cNvPr id="3" name="Espace réservé du contenu 2"/>
          <p:cNvSpPr>
            <a:spLocks noGrp="1"/>
          </p:cNvSpPr>
          <p:nvPr>
            <p:ph idx="1" hasCustomPrompt="1"/>
          </p:nvPr>
        </p:nvSpPr>
        <p:spPr bwMode="gray">
          <a:xfrm>
            <a:off x="672000" y="1603200"/>
            <a:ext cx="5424000" cy="20352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7" name="Espace réservé de la date 6"/>
          <p:cNvSpPr>
            <a:spLocks noGrp="1"/>
          </p:cNvSpPr>
          <p:nvPr>
            <p:ph type="dt" sz="half" idx="10"/>
          </p:nvPr>
        </p:nvSpPr>
        <p:spPr bwMode="gray"/>
        <p:txBody>
          <a:bodyPr/>
          <a:lstStyle/>
          <a:p>
            <a:r>
              <a:rPr lang="en-GB" noProof="0"/>
              <a:t>Date</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2"/>
          </p:nvPr>
        </p:nvSpPr>
        <p:spPr bwMode="gray"/>
        <p:txBody>
          <a:bodyPr/>
          <a:lstStyle/>
          <a:p>
            <a:r>
              <a:rPr lang="en-GB" noProof="0"/>
              <a:t>#add your hashtag</a:t>
            </a:r>
          </a:p>
        </p:txBody>
      </p:sp>
      <p:sp>
        <p:nvSpPr>
          <p:cNvPr id="9" name="Espace réservé du contenu 2"/>
          <p:cNvSpPr>
            <a:spLocks noGrp="1"/>
          </p:cNvSpPr>
          <p:nvPr>
            <p:ph idx="13" hasCustomPrompt="1"/>
          </p:nvPr>
        </p:nvSpPr>
        <p:spPr bwMode="gray">
          <a:xfrm>
            <a:off x="6096000" y="1603200"/>
            <a:ext cx="5424000" cy="20352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du contenu 2"/>
          <p:cNvSpPr>
            <a:spLocks noGrp="1"/>
          </p:cNvSpPr>
          <p:nvPr>
            <p:ph idx="14" hasCustomPrompt="1"/>
          </p:nvPr>
        </p:nvSpPr>
        <p:spPr bwMode="gray">
          <a:xfrm>
            <a:off x="672000" y="3771388"/>
            <a:ext cx="5424000" cy="2034629"/>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5" hasCustomPrompt="1"/>
          </p:nvPr>
        </p:nvSpPr>
        <p:spPr bwMode="gray">
          <a:xfrm>
            <a:off x="6096000" y="3771388"/>
            <a:ext cx="5424000" cy="2034629"/>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30888625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8" name="Espace réservé de la date 7"/>
          <p:cNvSpPr>
            <a:spLocks noGrp="1"/>
          </p:cNvSpPr>
          <p:nvPr>
            <p:ph type="dt" sz="half" idx="14"/>
          </p:nvPr>
        </p:nvSpPr>
        <p:spPr bwMode="gray"/>
        <p:txBody>
          <a:bodyPr/>
          <a:lstStyle/>
          <a:p>
            <a:r>
              <a:rPr lang="en-GB" noProof="0"/>
              <a:t>Dat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12" name="Espace réservé pour une image  8"/>
          <p:cNvSpPr>
            <a:spLocks noGrp="1"/>
          </p:cNvSpPr>
          <p:nvPr>
            <p:ph type="pic" sz="quarter" idx="17" hasCustomPrompt="1"/>
          </p:nvPr>
        </p:nvSpPr>
        <p:spPr bwMode="gray">
          <a:xfrm>
            <a:off x="672000" y="1603201"/>
            <a:ext cx="10848000" cy="4156800"/>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28345972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672000" y="1603200"/>
            <a:ext cx="10848000" cy="936627"/>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e la date 7"/>
          <p:cNvSpPr>
            <a:spLocks noGrp="1"/>
          </p:cNvSpPr>
          <p:nvPr>
            <p:ph type="dt" sz="half" idx="14"/>
          </p:nvPr>
        </p:nvSpPr>
        <p:spPr bwMode="gray"/>
        <p:txBody>
          <a:bodyPr/>
          <a:lstStyle/>
          <a:p>
            <a:r>
              <a:rPr lang="en-GB" noProof="0"/>
              <a:t>Dat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21" name="Espace réservé du texte 9"/>
          <p:cNvSpPr>
            <a:spLocks noGrp="1"/>
          </p:cNvSpPr>
          <p:nvPr>
            <p:ph type="body" sz="quarter" idx="19" hasCustomPrompt="1"/>
          </p:nvPr>
        </p:nvSpPr>
        <p:spPr bwMode="gray">
          <a:xfrm>
            <a:off x="672000" y="2638824"/>
            <a:ext cx="4896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672000" y="2962824"/>
            <a:ext cx="4896000" cy="2352000"/>
          </a:xfrm>
          <a:ln w="9525">
            <a:solidFill>
              <a:schemeClr val="accent1"/>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096000" y="2638824"/>
            <a:ext cx="4896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096000" y="2962824"/>
            <a:ext cx="4896000" cy="2352000"/>
          </a:xfrm>
          <a:ln w="9525">
            <a:solidFill>
              <a:schemeClr val="accent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14343830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8" name="Espace réservé de la date 7"/>
          <p:cNvSpPr>
            <a:spLocks noGrp="1"/>
          </p:cNvSpPr>
          <p:nvPr>
            <p:ph type="dt" sz="half" idx="14"/>
          </p:nvPr>
        </p:nvSpPr>
        <p:spPr bwMode="gray"/>
        <p:txBody>
          <a:bodyPr/>
          <a:lstStyle/>
          <a:p>
            <a:r>
              <a:rPr lang="en-GB" noProof="0"/>
              <a:t>Dat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21" name="Espace réservé du texte 9"/>
          <p:cNvSpPr>
            <a:spLocks noGrp="1"/>
          </p:cNvSpPr>
          <p:nvPr>
            <p:ph type="body" sz="quarter" idx="19" hasCustomPrompt="1"/>
          </p:nvPr>
        </p:nvSpPr>
        <p:spPr bwMode="gray">
          <a:xfrm>
            <a:off x="672000" y="1652803"/>
            <a:ext cx="2160000" cy="1869331"/>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2834267" y="1652803"/>
            <a:ext cx="8160000" cy="1869331"/>
          </a:xfrm>
          <a:ln w="9525">
            <a:solidFill>
              <a:schemeClr val="accent1"/>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15" name="Espace réservé du texte 9"/>
          <p:cNvSpPr>
            <a:spLocks noGrp="1"/>
          </p:cNvSpPr>
          <p:nvPr>
            <p:ph type="body" sz="quarter" idx="21" hasCustomPrompt="1"/>
          </p:nvPr>
        </p:nvSpPr>
        <p:spPr bwMode="gray">
          <a:xfrm>
            <a:off x="672000" y="3677701"/>
            <a:ext cx="2160000" cy="1869331"/>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3" name="Espace réservé du texte 9"/>
          <p:cNvSpPr>
            <a:spLocks noGrp="1"/>
          </p:cNvSpPr>
          <p:nvPr>
            <p:ph type="body" sz="quarter" idx="22" hasCustomPrompt="1"/>
          </p:nvPr>
        </p:nvSpPr>
        <p:spPr bwMode="gray">
          <a:xfrm>
            <a:off x="2832795" y="3677701"/>
            <a:ext cx="8160000" cy="1869331"/>
          </a:xfrm>
          <a:ln w="9525">
            <a:solidFill>
              <a:schemeClr val="accent1"/>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11319798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1570278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2699"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cs typeface="Arial" panose="020B0604020202020204" pitchFamily="34" charset="0"/>
              </a:rPr>
              <a:pPr lvl="0" algn="ctr" defTabSz="610744" fontAlgn="auto">
                <a:spcBef>
                  <a:spcPts val="0"/>
                </a:spcBef>
                <a:spcAft>
                  <a:spcPts val="0"/>
                </a:spcAft>
              </a:pPr>
              <a:t>‹#›</a:t>
            </a:fld>
            <a:endParaRPr lang="en-US" sz="900" b="0" dirty="0">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8" name="Espace réservé de la date 7"/>
          <p:cNvSpPr>
            <a:spLocks noGrp="1"/>
          </p:cNvSpPr>
          <p:nvPr>
            <p:ph type="dt" sz="half" idx="14"/>
          </p:nvPr>
        </p:nvSpPr>
        <p:spPr bwMode="gray"/>
        <p:txBody>
          <a:bodyPr/>
          <a:lstStyle/>
          <a:p>
            <a:r>
              <a:rPr lang="en-GB" noProof="0"/>
              <a:t>Dat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1" name="Espace réservé du pied de page 10"/>
          <p:cNvSpPr>
            <a:spLocks noGrp="1"/>
          </p:cNvSpPr>
          <p:nvPr>
            <p:ph type="ftr" sz="quarter" idx="16"/>
          </p:nvPr>
        </p:nvSpPr>
        <p:spPr bwMode="gray"/>
        <p:txBody>
          <a:bodyPr/>
          <a:lstStyle/>
          <a:p>
            <a:r>
              <a:rPr lang="en-GB" noProof="0"/>
              <a:t>#add your hashtag</a:t>
            </a:r>
          </a:p>
        </p:txBody>
      </p:sp>
      <p:sp>
        <p:nvSpPr>
          <p:cNvPr id="21" name="Espace réservé du texte 9"/>
          <p:cNvSpPr>
            <a:spLocks noGrp="1"/>
          </p:cNvSpPr>
          <p:nvPr>
            <p:ph type="body" sz="quarter" idx="19" hasCustomPrompt="1"/>
          </p:nvPr>
        </p:nvSpPr>
        <p:spPr bwMode="gray">
          <a:xfrm>
            <a:off x="672000" y="1651200"/>
            <a:ext cx="4896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672000" y="1985432"/>
            <a:ext cx="4896000" cy="3561600"/>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096795" y="1651200"/>
            <a:ext cx="4896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096795" y="1985432"/>
            <a:ext cx="4896000" cy="3561600"/>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42220271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pic>
        <p:nvPicPr>
          <p:cNvPr id="18" name="Image 17" descr="Image_03.jpg"/>
          <p:cNvPicPr>
            <a:picLocks noChangeAspect="1"/>
          </p:cNvPicPr>
          <p:nvPr userDrawn="1"/>
        </p:nvPicPr>
        <p:blipFill>
          <a:blip r:embed="rId2" cstate="print"/>
          <a:stretch>
            <a:fillRect/>
          </a:stretch>
        </p:blipFill>
        <p:spPr bwMode="gray">
          <a:xfrm>
            <a:off x="6620071" y="-16850"/>
            <a:ext cx="5591179" cy="5712068"/>
          </a:xfrm>
          <a:prstGeom prst="rect">
            <a:avLst/>
          </a:prstGeom>
        </p:spPr>
      </p:pic>
      <p:sp>
        <p:nvSpPr>
          <p:cNvPr id="13" name="Forme libre 12"/>
          <p:cNvSpPr/>
          <p:nvPr userDrawn="1"/>
        </p:nvSpPr>
        <p:spPr>
          <a:xfrm>
            <a:off x="3" y="0"/>
            <a:ext cx="9394668" cy="5160000"/>
          </a:xfrm>
          <a:custGeom>
            <a:avLst/>
            <a:gdLst>
              <a:gd name="connsiteX0" fmla="*/ 0 w 7046001"/>
              <a:gd name="connsiteY0" fmla="*/ 0 h 3870000"/>
              <a:gd name="connsiteX1" fmla="*/ 7046001 w 7046001"/>
              <a:gd name="connsiteY1" fmla="*/ 0 h 3870000"/>
              <a:gd name="connsiteX2" fmla="*/ 5146256 w 7046001"/>
              <a:gd name="connsiteY2" fmla="*/ 3580448 h 3870000"/>
              <a:gd name="connsiteX3" fmla="*/ 5116340 w 7046001"/>
              <a:gd name="connsiteY3" fmla="*/ 3870000 h 3870000"/>
              <a:gd name="connsiteX4" fmla="*/ 0 w 7046001"/>
              <a:gd name="connsiteY4" fmla="*/ 3870000 h 387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6001" h="3870000">
                <a:moveTo>
                  <a:pt x="0" y="0"/>
                </a:moveTo>
                <a:lnTo>
                  <a:pt x="7046001" y="0"/>
                </a:lnTo>
                <a:cubicBezTo>
                  <a:pt x="7040718" y="945283"/>
                  <a:pt x="5396983" y="2115735"/>
                  <a:pt x="5146256" y="3580448"/>
                </a:cubicBezTo>
                <a:lnTo>
                  <a:pt x="5116340" y="3870000"/>
                </a:lnTo>
                <a:lnTo>
                  <a:pt x="0" y="3870000"/>
                </a:lnTo>
                <a:close/>
              </a:path>
            </a:pathLst>
          </a:cu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HANK YOU</a:t>
            </a:r>
          </a:p>
        </p:txBody>
      </p:sp>
      <p:sp>
        <p:nvSpPr>
          <p:cNvPr id="10" name="Espace réservé de la date 9"/>
          <p:cNvSpPr>
            <a:spLocks noGrp="1"/>
          </p:cNvSpPr>
          <p:nvPr>
            <p:ph type="dt" sz="half" idx="15"/>
          </p:nvPr>
        </p:nvSpPr>
        <p:spPr bwMode="gray"/>
        <p:txBody>
          <a:bodyPr/>
          <a:lstStyle/>
          <a:p>
            <a:r>
              <a:rPr lang="en-GB" noProof="0"/>
              <a:t>Date</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2" name="Espace réservé du pied de page 11"/>
          <p:cNvSpPr>
            <a:spLocks noGrp="1"/>
          </p:cNvSpPr>
          <p:nvPr>
            <p:ph type="ftr" sz="quarter" idx="17"/>
          </p:nvPr>
        </p:nvSpPr>
        <p:spPr bwMode="gray">
          <a:xfrm>
            <a:off x="672000" y="585600"/>
            <a:ext cx="6384000" cy="360000"/>
          </a:xfrm>
        </p:spPr>
        <p:txBody>
          <a:bodyPr/>
          <a:lstStyle>
            <a:lvl1pPr algn="l">
              <a:defRPr sz="2400" b="0">
                <a:solidFill>
                  <a:schemeClr val="bg1"/>
                </a:solidFill>
              </a:defRPr>
            </a:lvl1pPr>
          </a:lstStyle>
          <a:p>
            <a:r>
              <a:rPr lang="en-GB" noProof="0"/>
              <a:t>#add your hashtag</a:t>
            </a:r>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pPr lvl="0"/>
            <a:r>
              <a:rPr lang="en-GB" noProof="0"/>
              <a:t>Write your claim here</a:t>
            </a: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3600"/>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20529242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ank_you_picture_2">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sp>
        <p:nvSpPr>
          <p:cNvPr id="20" name="Espace réservé pour une image  25"/>
          <p:cNvSpPr>
            <a:spLocks noGrp="1"/>
          </p:cNvSpPr>
          <p:nvPr>
            <p:ph type="pic" sz="quarter" idx="10" hasCustomPrompt="1"/>
          </p:nvPr>
        </p:nvSpPr>
        <p:spPr>
          <a:xfrm>
            <a:off x="6821913" y="0"/>
            <a:ext cx="5370089" cy="51588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1219170" rtl="0" eaLnBrk="1" fontAlgn="auto" latinLnBrk="0" hangingPunct="1">
              <a:lnSpc>
                <a:spcPct val="110000"/>
              </a:lnSpc>
              <a:spcBef>
                <a:spcPts val="0"/>
              </a:spcBef>
              <a:spcAft>
                <a:spcPts val="0"/>
              </a:spcAft>
              <a:buClrTx/>
              <a:buSzTx/>
              <a:buFont typeface="Arial" pitchFamily="34" charset="0"/>
              <a:buNone/>
              <a:tabLst/>
              <a:defRPr sz="2000">
                <a:solidFill>
                  <a:schemeClr val="bg1"/>
                </a:solidFill>
              </a:defRPr>
            </a:lvl1pPr>
          </a:lstStyle>
          <a:p>
            <a:r>
              <a:rPr lang="en-GB" noProof="0"/>
              <a:t>Select your own photo</a:t>
            </a:r>
          </a:p>
        </p:txBody>
      </p:sp>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HANK YOU</a:t>
            </a:r>
          </a:p>
        </p:txBody>
      </p:sp>
      <p:sp>
        <p:nvSpPr>
          <p:cNvPr id="10" name="Espace réservé de la date 9"/>
          <p:cNvSpPr>
            <a:spLocks noGrp="1"/>
          </p:cNvSpPr>
          <p:nvPr>
            <p:ph type="dt" sz="half" idx="15"/>
          </p:nvPr>
        </p:nvSpPr>
        <p:spPr bwMode="gray"/>
        <p:txBody>
          <a:bodyPr/>
          <a:lstStyle/>
          <a:p>
            <a:r>
              <a:rPr lang="en-GB" noProof="0"/>
              <a:t>Date</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2" name="Espace réservé du pied de page 11"/>
          <p:cNvSpPr>
            <a:spLocks noGrp="1"/>
          </p:cNvSpPr>
          <p:nvPr>
            <p:ph type="ftr" sz="quarter" idx="17"/>
          </p:nvPr>
        </p:nvSpPr>
        <p:spPr bwMode="gray">
          <a:xfrm>
            <a:off x="672000" y="585600"/>
            <a:ext cx="6384000" cy="360000"/>
          </a:xfrm>
        </p:spPr>
        <p:txBody>
          <a:bodyPr/>
          <a:lstStyle>
            <a:lvl1pPr algn="l">
              <a:defRPr sz="2400" b="0">
                <a:solidFill>
                  <a:schemeClr val="bg1"/>
                </a:solidFill>
              </a:defRPr>
            </a:lvl1pPr>
          </a:lstStyle>
          <a:p>
            <a:r>
              <a:rPr lang="en-GB" noProof="0"/>
              <a:t>#add your hashtag</a:t>
            </a:r>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pPr lvl="0"/>
            <a:r>
              <a:rPr lang="en-GB" noProof="0"/>
              <a:t>Write your claim here</a:t>
            </a: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35775789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BRAND COLOUR PALETTE</a:t>
            </a:r>
          </a:p>
        </p:txBody>
      </p:sp>
      <p:sp>
        <p:nvSpPr>
          <p:cNvPr id="3" name="Espace réservé de la date 2"/>
          <p:cNvSpPr>
            <a:spLocks noGrp="1"/>
          </p:cNvSpPr>
          <p:nvPr>
            <p:ph type="dt" sz="half" idx="10"/>
          </p:nvPr>
        </p:nvSpPr>
        <p:spPr/>
        <p:txBody>
          <a:bodyPr/>
          <a:lstStyle/>
          <a:p>
            <a:r>
              <a:rPr lang="en-GB" noProof="0"/>
              <a:t>Date</a:t>
            </a:r>
          </a:p>
        </p:txBody>
      </p:sp>
      <p:sp>
        <p:nvSpPr>
          <p:cNvPr id="4" name="Espace réservé du pied de page 3"/>
          <p:cNvSpPr>
            <a:spLocks noGrp="1"/>
          </p:cNvSpPr>
          <p:nvPr>
            <p:ph type="ftr" sz="quarter" idx="11"/>
          </p:nvPr>
        </p:nvSpPr>
        <p:spPr/>
        <p:txBody>
          <a:bodyPr/>
          <a:lstStyle/>
          <a:p>
            <a:r>
              <a:rPr lang="en-GB" noProof="0"/>
              <a:t>#add your hashtag</a:t>
            </a:r>
          </a:p>
        </p:txBody>
      </p:sp>
      <p:sp>
        <p:nvSpPr>
          <p:cNvPr id="5" name="Espace réservé du numéro de diapositive 4"/>
          <p:cNvSpPr>
            <a:spLocks noGrp="1"/>
          </p:cNvSpPr>
          <p:nvPr>
            <p:ph type="sldNum" sz="quarter" idx="12"/>
          </p:nvPr>
        </p:nvSpPr>
        <p:spPr/>
        <p:txBody>
          <a:bodyPr/>
          <a:lstStyle/>
          <a:p>
            <a:fld id="{733122C9-A0B9-462F-8757-0847AD287B63}" type="slidenum">
              <a:rPr lang="en-GB" noProof="0" smtClean="0"/>
              <a:pPr/>
              <a:t>‹#›</a:t>
            </a:fld>
            <a:endParaRPr lang="en-GB" noProof="0"/>
          </a:p>
        </p:txBody>
      </p:sp>
      <p:sp>
        <p:nvSpPr>
          <p:cNvPr id="6" name="ZoneTexte 5"/>
          <p:cNvSpPr txBox="1"/>
          <p:nvPr userDrawn="1"/>
        </p:nvSpPr>
        <p:spPr>
          <a:xfrm>
            <a:off x="672000" y="1506440"/>
            <a:ext cx="4358557" cy="2992531"/>
          </a:xfrm>
          <a:prstGeom prst="rect">
            <a:avLst/>
          </a:prstGeom>
          <a:noFill/>
        </p:spPr>
        <p:txBody>
          <a:bodyPr wrap="square" lIns="0" tIns="0" rIns="0" bIns="0" rtlCol="0">
            <a:noAutofit/>
          </a:bodyPr>
          <a:lstStyle/>
          <a:p>
            <a:pPr>
              <a:lnSpc>
                <a:spcPct val="110000"/>
              </a:lnSpc>
            </a:pPr>
            <a:r>
              <a:rPr lang="en-GB" sz="2400" b="0" noProof="0">
                <a:solidFill>
                  <a:schemeClr val="accent1"/>
                </a:solidFill>
              </a:rPr>
              <a:t>Primary</a:t>
            </a:r>
          </a:p>
          <a:p>
            <a:pPr marL="609585" lvl="1" indent="-124881">
              <a:lnSpc>
                <a:spcPct val="100000"/>
              </a:lnSpc>
              <a:spcAft>
                <a:spcPts val="800"/>
              </a:spcAft>
              <a:buClr>
                <a:schemeClr val="tx1"/>
              </a:buClr>
              <a:buFont typeface="Arial" panose="020B0604020202020204" pitchFamily="34" charset="0"/>
              <a:buChar char="•"/>
            </a:pPr>
            <a:r>
              <a:rPr lang="en-GB" sz="2133" b="0" noProof="0"/>
              <a:t>Corporate Colours</a:t>
            </a:r>
          </a:p>
          <a:p>
            <a:pPr marL="609585" lvl="1" indent="-124881">
              <a:lnSpc>
                <a:spcPct val="100000"/>
              </a:lnSpc>
              <a:spcAft>
                <a:spcPts val="800"/>
              </a:spcAft>
              <a:buClr>
                <a:schemeClr val="tx1"/>
              </a:buClr>
              <a:buFont typeface="Arial" panose="020B0604020202020204" pitchFamily="34" charset="0"/>
              <a:buChar char="•"/>
            </a:pPr>
            <a:r>
              <a:rPr lang="en-GB" sz="2133" b="0" noProof="0"/>
              <a:t>Strategic Goal Colours</a:t>
            </a:r>
          </a:p>
          <a:p>
            <a:pPr>
              <a:lnSpc>
                <a:spcPct val="110000"/>
              </a:lnSpc>
            </a:pPr>
            <a:r>
              <a:rPr lang="en-GB" sz="2400" b="0" noProof="0">
                <a:solidFill>
                  <a:schemeClr val="accent1"/>
                </a:solidFill>
              </a:rPr>
              <a:t>Secondary</a:t>
            </a:r>
          </a:p>
        </p:txBody>
      </p:sp>
      <p:sp>
        <p:nvSpPr>
          <p:cNvPr id="7" name="Freeform 8"/>
          <p:cNvSpPr>
            <a:spLocks noChangeAspect="1"/>
          </p:cNvSpPr>
          <p:nvPr userDrawn="1"/>
        </p:nvSpPr>
        <p:spPr bwMode="auto">
          <a:xfrm>
            <a:off x="5012245"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8" name="Rectangle 7"/>
          <p:cNvSpPr/>
          <p:nvPr userDrawn="1"/>
        </p:nvSpPr>
        <p:spPr>
          <a:xfrm>
            <a:off x="5505451"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0</a:t>
            </a:r>
          </a:p>
          <a:p>
            <a:pPr>
              <a:lnSpc>
                <a:spcPct val="90000"/>
              </a:lnSpc>
            </a:pPr>
            <a:r>
              <a:rPr lang="en-GB" sz="933" noProof="0">
                <a:solidFill>
                  <a:schemeClr val="tx1"/>
                </a:solidFill>
              </a:rPr>
              <a:t>G: 92</a:t>
            </a:r>
          </a:p>
          <a:p>
            <a:pPr>
              <a:lnSpc>
                <a:spcPct val="90000"/>
              </a:lnSpc>
            </a:pPr>
            <a:r>
              <a:rPr lang="en-GB" sz="933" noProof="0">
                <a:solidFill>
                  <a:schemeClr val="tx1"/>
                </a:solidFill>
              </a:rPr>
              <a:t>B: 185</a:t>
            </a:r>
          </a:p>
        </p:txBody>
      </p:sp>
      <p:sp>
        <p:nvSpPr>
          <p:cNvPr id="49" name="Rectangle 48"/>
          <p:cNvSpPr/>
          <p:nvPr userDrawn="1"/>
        </p:nvSpPr>
        <p:spPr>
          <a:xfrm>
            <a:off x="6239685" y="5185225"/>
            <a:ext cx="4224801" cy="6355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GB" sz="1200" b="1" noProof="0">
                <a:solidFill>
                  <a:schemeClr val="tx1"/>
                </a:solidFill>
              </a:rPr>
              <a:t>Please use the four </a:t>
            </a:r>
            <a:r>
              <a:rPr lang="en-GB" sz="1200" b="1" noProof="0" err="1">
                <a:solidFill>
                  <a:schemeClr val="tx1"/>
                </a:solidFill>
              </a:rPr>
              <a:t>Gavi</a:t>
            </a:r>
            <a:r>
              <a:rPr lang="en-GB" sz="1200" b="1" noProof="0">
                <a:solidFill>
                  <a:schemeClr val="tx1"/>
                </a:solidFill>
              </a:rPr>
              <a:t> corporate colours where possible.  Specific strategic goals </a:t>
            </a:r>
            <a:br>
              <a:rPr lang="en-GB" sz="1200" b="1" noProof="0">
                <a:solidFill>
                  <a:schemeClr val="tx1"/>
                </a:solidFill>
              </a:rPr>
            </a:br>
            <a:r>
              <a:rPr lang="en-GB" sz="1200" b="1" noProof="0">
                <a:solidFill>
                  <a:schemeClr val="tx1"/>
                </a:solidFill>
              </a:rPr>
              <a:t>or vaccines should be highlighted using the key above. </a:t>
            </a:r>
          </a:p>
        </p:txBody>
      </p:sp>
      <p:sp>
        <p:nvSpPr>
          <p:cNvPr id="65" name="Freeform 8"/>
          <p:cNvSpPr>
            <a:spLocks noChangeAspect="1"/>
          </p:cNvSpPr>
          <p:nvPr userDrawn="1"/>
        </p:nvSpPr>
        <p:spPr bwMode="auto">
          <a:xfrm>
            <a:off x="6457437"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66" name="Rectangle 65"/>
          <p:cNvSpPr/>
          <p:nvPr userDrawn="1"/>
        </p:nvSpPr>
        <p:spPr>
          <a:xfrm>
            <a:off x="6950643"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0</a:t>
            </a:r>
          </a:p>
          <a:p>
            <a:pPr>
              <a:lnSpc>
                <a:spcPct val="90000"/>
              </a:lnSpc>
            </a:pPr>
            <a:r>
              <a:rPr lang="en-GB" sz="933" noProof="0">
                <a:solidFill>
                  <a:schemeClr val="tx1"/>
                </a:solidFill>
              </a:rPr>
              <a:t>G: 161</a:t>
            </a:r>
          </a:p>
          <a:p>
            <a:pPr>
              <a:lnSpc>
                <a:spcPct val="90000"/>
              </a:lnSpc>
            </a:pPr>
            <a:r>
              <a:rPr lang="en-GB" sz="933" noProof="0">
                <a:solidFill>
                  <a:schemeClr val="tx1"/>
                </a:solidFill>
              </a:rPr>
              <a:t>B: 223</a:t>
            </a:r>
          </a:p>
        </p:txBody>
      </p:sp>
      <p:sp>
        <p:nvSpPr>
          <p:cNvPr id="68" name="Freeform 8"/>
          <p:cNvSpPr>
            <a:spLocks noChangeAspect="1"/>
          </p:cNvSpPr>
          <p:nvPr userDrawn="1"/>
        </p:nvSpPr>
        <p:spPr bwMode="auto">
          <a:xfrm>
            <a:off x="7869403"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69" name="Rectangle 68"/>
          <p:cNvSpPr/>
          <p:nvPr userDrawn="1"/>
        </p:nvSpPr>
        <p:spPr>
          <a:xfrm>
            <a:off x="8362608"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149</a:t>
            </a:r>
          </a:p>
          <a:p>
            <a:pPr>
              <a:lnSpc>
                <a:spcPct val="90000"/>
              </a:lnSpc>
            </a:pPr>
            <a:r>
              <a:rPr lang="en-GB" sz="933" noProof="0">
                <a:solidFill>
                  <a:schemeClr val="tx1"/>
                </a:solidFill>
              </a:rPr>
              <a:t>G: 214</a:t>
            </a:r>
          </a:p>
          <a:p>
            <a:pPr>
              <a:lnSpc>
                <a:spcPct val="90000"/>
              </a:lnSpc>
            </a:pPr>
            <a:r>
              <a:rPr lang="en-GB" sz="933" noProof="0">
                <a:solidFill>
                  <a:schemeClr val="tx1"/>
                </a:solidFill>
              </a:rPr>
              <a:t>B: 0</a:t>
            </a:r>
          </a:p>
        </p:txBody>
      </p:sp>
      <p:sp>
        <p:nvSpPr>
          <p:cNvPr id="71" name="Freeform 8"/>
          <p:cNvSpPr>
            <a:spLocks noChangeAspect="1"/>
          </p:cNvSpPr>
          <p:nvPr userDrawn="1"/>
        </p:nvSpPr>
        <p:spPr bwMode="auto">
          <a:xfrm>
            <a:off x="9493117"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72" name="Rectangle 71"/>
          <p:cNvSpPr/>
          <p:nvPr userDrawn="1"/>
        </p:nvSpPr>
        <p:spPr>
          <a:xfrm>
            <a:off x="9986323"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135</a:t>
            </a:r>
          </a:p>
          <a:p>
            <a:pPr>
              <a:lnSpc>
                <a:spcPct val="90000"/>
              </a:lnSpc>
            </a:pPr>
            <a:r>
              <a:rPr lang="en-GB" sz="933" noProof="0">
                <a:solidFill>
                  <a:schemeClr val="tx1"/>
                </a:solidFill>
              </a:rPr>
              <a:t>G: 135</a:t>
            </a:r>
          </a:p>
          <a:p>
            <a:pPr>
              <a:lnSpc>
                <a:spcPct val="90000"/>
              </a:lnSpc>
            </a:pPr>
            <a:r>
              <a:rPr lang="en-GB" sz="933" noProof="0">
                <a:solidFill>
                  <a:schemeClr val="tx1"/>
                </a:solidFill>
              </a:rPr>
              <a:t>B: 135</a:t>
            </a:r>
          </a:p>
        </p:txBody>
      </p:sp>
      <p:sp>
        <p:nvSpPr>
          <p:cNvPr id="74" name="Freeform 8"/>
          <p:cNvSpPr>
            <a:spLocks noChangeAspect="1"/>
          </p:cNvSpPr>
          <p:nvPr userDrawn="1"/>
        </p:nvSpPr>
        <p:spPr bwMode="auto">
          <a:xfrm>
            <a:off x="5012245"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75" name="Rectangle 74"/>
          <p:cNvSpPr/>
          <p:nvPr userDrawn="1"/>
        </p:nvSpPr>
        <p:spPr>
          <a:xfrm>
            <a:off x="5505451" y="2315392"/>
            <a:ext cx="951987"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ACCELERATE</a:t>
            </a:r>
          </a:p>
          <a:p>
            <a:pPr>
              <a:lnSpc>
                <a:spcPct val="90000"/>
              </a:lnSpc>
            </a:pPr>
            <a:r>
              <a:rPr lang="en-GB" sz="933" b="1" noProof="0">
                <a:solidFill>
                  <a:schemeClr val="tx1"/>
                </a:solidFill>
              </a:rPr>
              <a:t>VACCINES</a:t>
            </a:r>
          </a:p>
          <a:p>
            <a:pPr>
              <a:lnSpc>
                <a:spcPct val="90000"/>
              </a:lnSpc>
            </a:pPr>
            <a:r>
              <a:rPr lang="en-GB" sz="933" noProof="0">
                <a:solidFill>
                  <a:schemeClr val="tx1"/>
                </a:solidFill>
              </a:rPr>
              <a:t>R: 165</a:t>
            </a:r>
          </a:p>
          <a:p>
            <a:pPr>
              <a:lnSpc>
                <a:spcPct val="90000"/>
              </a:lnSpc>
            </a:pPr>
            <a:r>
              <a:rPr lang="en-GB" sz="933" noProof="0">
                <a:solidFill>
                  <a:schemeClr val="tx1"/>
                </a:solidFill>
              </a:rPr>
              <a:t>G: 24</a:t>
            </a:r>
          </a:p>
          <a:p>
            <a:pPr>
              <a:lnSpc>
                <a:spcPct val="90000"/>
              </a:lnSpc>
            </a:pPr>
            <a:r>
              <a:rPr lang="en-GB" sz="933" noProof="0">
                <a:solidFill>
                  <a:schemeClr val="tx1"/>
                </a:solidFill>
              </a:rPr>
              <a:t>B: 144</a:t>
            </a:r>
          </a:p>
        </p:txBody>
      </p:sp>
      <p:sp>
        <p:nvSpPr>
          <p:cNvPr id="77" name="Freeform 8"/>
          <p:cNvSpPr>
            <a:spLocks noChangeAspect="1"/>
          </p:cNvSpPr>
          <p:nvPr userDrawn="1"/>
        </p:nvSpPr>
        <p:spPr bwMode="auto">
          <a:xfrm>
            <a:off x="6457437"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78" name="Rectangle 77"/>
          <p:cNvSpPr/>
          <p:nvPr userDrawn="1"/>
        </p:nvSpPr>
        <p:spPr>
          <a:xfrm>
            <a:off x="6950643" y="2315392"/>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STRENGTHEN</a:t>
            </a:r>
          </a:p>
          <a:p>
            <a:pPr>
              <a:lnSpc>
                <a:spcPct val="90000"/>
              </a:lnSpc>
            </a:pPr>
            <a:r>
              <a:rPr lang="en-GB" sz="933" b="1" noProof="0">
                <a:solidFill>
                  <a:schemeClr val="tx1"/>
                </a:solidFill>
              </a:rPr>
              <a:t>CAPACITY</a:t>
            </a:r>
          </a:p>
          <a:p>
            <a:pPr>
              <a:lnSpc>
                <a:spcPct val="90000"/>
              </a:lnSpc>
            </a:pPr>
            <a:r>
              <a:rPr lang="en-GB" sz="933" noProof="0">
                <a:solidFill>
                  <a:schemeClr val="tx1"/>
                </a:solidFill>
              </a:rPr>
              <a:t>R: 206</a:t>
            </a:r>
          </a:p>
          <a:p>
            <a:pPr>
              <a:lnSpc>
                <a:spcPct val="90000"/>
              </a:lnSpc>
            </a:pPr>
            <a:r>
              <a:rPr lang="en-GB" sz="933" noProof="0">
                <a:solidFill>
                  <a:schemeClr val="tx1"/>
                </a:solidFill>
              </a:rPr>
              <a:t>G: 15</a:t>
            </a:r>
          </a:p>
          <a:p>
            <a:pPr>
              <a:lnSpc>
                <a:spcPct val="90000"/>
              </a:lnSpc>
            </a:pPr>
            <a:r>
              <a:rPr lang="en-GB" sz="933" noProof="0">
                <a:solidFill>
                  <a:schemeClr val="tx1"/>
                </a:solidFill>
              </a:rPr>
              <a:t>B: 105</a:t>
            </a:r>
          </a:p>
        </p:txBody>
      </p:sp>
      <p:sp>
        <p:nvSpPr>
          <p:cNvPr id="80" name="Freeform 8"/>
          <p:cNvSpPr>
            <a:spLocks noChangeAspect="1"/>
          </p:cNvSpPr>
          <p:nvPr userDrawn="1"/>
        </p:nvSpPr>
        <p:spPr bwMode="auto">
          <a:xfrm>
            <a:off x="7869403"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81" name="Rectangle 80"/>
          <p:cNvSpPr/>
          <p:nvPr userDrawn="1"/>
        </p:nvSpPr>
        <p:spPr>
          <a:xfrm>
            <a:off x="8362608" y="2315392"/>
            <a:ext cx="997755"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INCREASE</a:t>
            </a:r>
          </a:p>
          <a:p>
            <a:pPr>
              <a:lnSpc>
                <a:spcPct val="90000"/>
              </a:lnSpc>
            </a:pPr>
            <a:r>
              <a:rPr lang="en-GB" sz="933" b="1" noProof="0">
                <a:solidFill>
                  <a:schemeClr val="tx1"/>
                </a:solidFill>
              </a:rPr>
              <a:t>PREDICTABILITY</a:t>
            </a:r>
          </a:p>
          <a:p>
            <a:pPr>
              <a:lnSpc>
                <a:spcPct val="90000"/>
              </a:lnSpc>
            </a:pPr>
            <a:r>
              <a:rPr lang="en-GB" sz="933" noProof="0">
                <a:solidFill>
                  <a:schemeClr val="tx1"/>
                </a:solidFill>
              </a:rPr>
              <a:t>R: 149</a:t>
            </a:r>
          </a:p>
          <a:p>
            <a:pPr>
              <a:lnSpc>
                <a:spcPct val="90000"/>
              </a:lnSpc>
            </a:pPr>
            <a:r>
              <a:rPr lang="en-GB" sz="933" noProof="0">
                <a:solidFill>
                  <a:schemeClr val="tx1"/>
                </a:solidFill>
              </a:rPr>
              <a:t>G: 214</a:t>
            </a:r>
          </a:p>
          <a:p>
            <a:pPr>
              <a:lnSpc>
                <a:spcPct val="90000"/>
              </a:lnSpc>
            </a:pPr>
            <a:r>
              <a:rPr lang="en-GB" sz="933" noProof="0">
                <a:solidFill>
                  <a:schemeClr val="tx1"/>
                </a:solidFill>
              </a:rPr>
              <a:t>B: 0</a:t>
            </a:r>
          </a:p>
        </p:txBody>
      </p:sp>
      <p:sp>
        <p:nvSpPr>
          <p:cNvPr id="83" name="Freeform 8"/>
          <p:cNvSpPr>
            <a:spLocks noChangeAspect="1"/>
          </p:cNvSpPr>
          <p:nvPr userDrawn="1"/>
        </p:nvSpPr>
        <p:spPr bwMode="auto">
          <a:xfrm>
            <a:off x="9493117"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84" name="Rectangle 83"/>
          <p:cNvSpPr/>
          <p:nvPr userDrawn="1"/>
        </p:nvSpPr>
        <p:spPr>
          <a:xfrm>
            <a:off x="9986323" y="2315392"/>
            <a:ext cx="1054211"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SHAPE</a:t>
            </a:r>
          </a:p>
          <a:p>
            <a:pPr>
              <a:lnSpc>
                <a:spcPct val="90000"/>
              </a:lnSpc>
            </a:pPr>
            <a:r>
              <a:rPr lang="en-GB" sz="933" b="1" noProof="0">
                <a:solidFill>
                  <a:schemeClr val="tx1"/>
                </a:solidFill>
              </a:rPr>
              <a:t>THE MARKET</a:t>
            </a:r>
          </a:p>
          <a:p>
            <a:pPr>
              <a:lnSpc>
                <a:spcPct val="90000"/>
              </a:lnSpc>
            </a:pPr>
            <a:r>
              <a:rPr lang="en-GB" sz="933" noProof="0">
                <a:solidFill>
                  <a:schemeClr val="tx1"/>
                </a:solidFill>
              </a:rPr>
              <a:t>R: 0</a:t>
            </a:r>
          </a:p>
          <a:p>
            <a:pPr>
              <a:lnSpc>
                <a:spcPct val="90000"/>
              </a:lnSpc>
            </a:pPr>
            <a:r>
              <a:rPr lang="en-GB" sz="933" noProof="0">
                <a:solidFill>
                  <a:schemeClr val="tx1"/>
                </a:solidFill>
              </a:rPr>
              <a:t>G: 161</a:t>
            </a:r>
          </a:p>
          <a:p>
            <a:pPr>
              <a:lnSpc>
                <a:spcPct val="90000"/>
              </a:lnSpc>
            </a:pPr>
            <a:r>
              <a:rPr lang="en-GB" sz="933" noProof="0">
                <a:solidFill>
                  <a:schemeClr val="tx1"/>
                </a:solidFill>
              </a:rPr>
              <a:t>B: 223</a:t>
            </a:r>
          </a:p>
        </p:txBody>
      </p:sp>
      <p:sp>
        <p:nvSpPr>
          <p:cNvPr id="97" name="Freeform 8"/>
          <p:cNvSpPr>
            <a:spLocks noChangeAspect="1"/>
          </p:cNvSpPr>
          <p:nvPr userDrawn="1"/>
        </p:nvSpPr>
        <p:spPr bwMode="auto">
          <a:xfrm>
            <a:off x="5012245"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ED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8" name="Rectangle 97"/>
          <p:cNvSpPr/>
          <p:nvPr userDrawn="1"/>
        </p:nvSpPr>
        <p:spPr>
          <a:xfrm>
            <a:off x="5505451" y="3236979"/>
            <a:ext cx="951987" cy="8047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IPV</a:t>
            </a:r>
          </a:p>
          <a:p>
            <a:pPr>
              <a:lnSpc>
                <a:spcPct val="90000"/>
              </a:lnSpc>
            </a:pPr>
            <a:r>
              <a:rPr lang="en-GB" sz="933" b="1" noProof="0">
                <a:solidFill>
                  <a:schemeClr val="tx1"/>
                </a:solidFill>
              </a:rPr>
              <a:t>INJECTABLE</a:t>
            </a:r>
          </a:p>
          <a:p>
            <a:pPr>
              <a:lnSpc>
                <a:spcPct val="90000"/>
              </a:lnSpc>
            </a:pPr>
            <a:r>
              <a:rPr lang="en-GB" sz="933" b="1" noProof="0">
                <a:solidFill>
                  <a:schemeClr val="tx1"/>
                </a:solidFill>
              </a:rPr>
              <a:t>POLIO</a:t>
            </a:r>
          </a:p>
          <a:p>
            <a:pPr>
              <a:lnSpc>
                <a:spcPct val="90000"/>
              </a:lnSpc>
            </a:pPr>
            <a:r>
              <a:rPr lang="en-GB" sz="933" noProof="0">
                <a:solidFill>
                  <a:schemeClr val="tx1"/>
                </a:solidFill>
              </a:rPr>
              <a:t>R: 206</a:t>
            </a:r>
          </a:p>
          <a:p>
            <a:pPr>
              <a:lnSpc>
                <a:spcPct val="90000"/>
              </a:lnSpc>
            </a:pPr>
            <a:r>
              <a:rPr lang="en-GB" sz="933" noProof="0">
                <a:solidFill>
                  <a:schemeClr val="tx1"/>
                </a:solidFill>
              </a:rPr>
              <a:t>G: 220</a:t>
            </a:r>
          </a:p>
          <a:p>
            <a:pPr>
              <a:lnSpc>
                <a:spcPct val="90000"/>
              </a:lnSpc>
            </a:pPr>
            <a:r>
              <a:rPr lang="en-GB" sz="933" noProof="0">
                <a:solidFill>
                  <a:schemeClr val="tx1"/>
                </a:solidFill>
              </a:rPr>
              <a:t>B: 0</a:t>
            </a:r>
          </a:p>
        </p:txBody>
      </p:sp>
      <p:sp>
        <p:nvSpPr>
          <p:cNvPr id="95" name="Freeform 8"/>
          <p:cNvSpPr>
            <a:spLocks noChangeAspect="1"/>
          </p:cNvSpPr>
          <p:nvPr userDrawn="1"/>
        </p:nvSpPr>
        <p:spPr bwMode="auto">
          <a:xfrm>
            <a:off x="6457437"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B288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6" name="Rectangle 95"/>
          <p:cNvSpPr/>
          <p:nvPr userDrawn="1"/>
        </p:nvSpPr>
        <p:spPr>
          <a:xfrm>
            <a:off x="6950643" y="3398520"/>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JAPANESE</a:t>
            </a:r>
          </a:p>
          <a:p>
            <a:pPr>
              <a:lnSpc>
                <a:spcPct val="90000"/>
              </a:lnSpc>
            </a:pPr>
            <a:r>
              <a:rPr lang="en-GB" sz="933" b="1" noProof="0">
                <a:solidFill>
                  <a:schemeClr val="tx1"/>
                </a:solidFill>
              </a:rPr>
              <a:t>ENCEPHALITIS</a:t>
            </a:r>
          </a:p>
          <a:p>
            <a:pPr>
              <a:lnSpc>
                <a:spcPct val="90000"/>
              </a:lnSpc>
            </a:pPr>
            <a:r>
              <a:rPr lang="en-GB" sz="933" noProof="0">
                <a:solidFill>
                  <a:schemeClr val="tx1"/>
                </a:solidFill>
              </a:rPr>
              <a:t>R: 178</a:t>
            </a:r>
          </a:p>
          <a:p>
            <a:pPr>
              <a:lnSpc>
                <a:spcPct val="90000"/>
              </a:lnSpc>
            </a:pPr>
            <a:r>
              <a:rPr lang="en-GB" sz="933" noProof="0">
                <a:solidFill>
                  <a:schemeClr val="tx1"/>
                </a:solidFill>
              </a:rPr>
              <a:t>G: 136</a:t>
            </a:r>
          </a:p>
          <a:p>
            <a:pPr>
              <a:lnSpc>
                <a:spcPct val="90000"/>
              </a:lnSpc>
            </a:pPr>
            <a:r>
              <a:rPr lang="en-GB" sz="933" noProof="0">
                <a:solidFill>
                  <a:schemeClr val="tx1"/>
                </a:solidFill>
              </a:rPr>
              <a:t>B: 185</a:t>
            </a:r>
          </a:p>
        </p:txBody>
      </p:sp>
      <p:sp>
        <p:nvSpPr>
          <p:cNvPr id="93" name="Freeform 8"/>
          <p:cNvSpPr>
            <a:spLocks noChangeAspect="1"/>
          </p:cNvSpPr>
          <p:nvPr userDrawn="1"/>
        </p:nvSpPr>
        <p:spPr bwMode="auto">
          <a:xfrm>
            <a:off x="7869403"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41B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4" name="Rectangle 93"/>
          <p:cNvSpPr/>
          <p:nvPr userDrawn="1"/>
        </p:nvSpPr>
        <p:spPr>
          <a:xfrm>
            <a:off x="8362608"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ASLES</a:t>
            </a:r>
          </a:p>
          <a:p>
            <a:pPr>
              <a:lnSpc>
                <a:spcPct val="90000"/>
              </a:lnSpc>
            </a:pPr>
            <a:r>
              <a:rPr lang="en-GB" sz="933" noProof="0">
                <a:solidFill>
                  <a:schemeClr val="tx1"/>
                </a:solidFill>
              </a:rPr>
              <a:t>R: 65</a:t>
            </a:r>
          </a:p>
          <a:p>
            <a:pPr>
              <a:lnSpc>
                <a:spcPct val="90000"/>
              </a:lnSpc>
            </a:pPr>
            <a:r>
              <a:rPr lang="en-GB" sz="933" noProof="0">
                <a:solidFill>
                  <a:schemeClr val="tx1"/>
                </a:solidFill>
              </a:rPr>
              <a:t>G: 182</a:t>
            </a:r>
          </a:p>
          <a:p>
            <a:pPr>
              <a:lnSpc>
                <a:spcPct val="90000"/>
              </a:lnSpc>
            </a:pPr>
            <a:r>
              <a:rPr lang="en-GB" sz="933" noProof="0">
                <a:solidFill>
                  <a:schemeClr val="tx1"/>
                </a:solidFill>
              </a:rPr>
              <a:t>B: 230</a:t>
            </a:r>
          </a:p>
        </p:txBody>
      </p:sp>
      <p:sp>
        <p:nvSpPr>
          <p:cNvPr id="91" name="Freeform 8"/>
          <p:cNvSpPr>
            <a:spLocks noChangeAspect="1"/>
          </p:cNvSpPr>
          <p:nvPr userDrawn="1"/>
        </p:nvSpPr>
        <p:spPr bwMode="auto">
          <a:xfrm>
            <a:off x="9493117"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7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2" name="Rectangle 91"/>
          <p:cNvSpPr/>
          <p:nvPr userDrawn="1"/>
        </p:nvSpPr>
        <p:spPr>
          <a:xfrm>
            <a:off x="9986323" y="3398520"/>
            <a:ext cx="910211"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ASLES</a:t>
            </a:r>
          </a:p>
          <a:p>
            <a:pPr>
              <a:lnSpc>
                <a:spcPct val="90000"/>
              </a:lnSpc>
            </a:pPr>
            <a:r>
              <a:rPr lang="en-GB" sz="933" b="1" noProof="0">
                <a:solidFill>
                  <a:schemeClr val="tx1"/>
                </a:solidFill>
              </a:rPr>
              <a:t>2</a:t>
            </a:r>
            <a:r>
              <a:rPr lang="en-GB" sz="933" b="1" baseline="30000" noProof="0">
                <a:solidFill>
                  <a:schemeClr val="tx1"/>
                </a:solidFill>
              </a:rPr>
              <a:t>ND</a:t>
            </a:r>
            <a:r>
              <a:rPr lang="en-GB" sz="933" b="1" noProof="0">
                <a:solidFill>
                  <a:schemeClr val="tx1"/>
                </a:solidFill>
              </a:rPr>
              <a:t> DOSE</a:t>
            </a:r>
          </a:p>
          <a:p>
            <a:pPr>
              <a:lnSpc>
                <a:spcPct val="90000"/>
              </a:lnSpc>
            </a:pPr>
            <a:r>
              <a:rPr lang="en-GB" sz="933" noProof="0">
                <a:solidFill>
                  <a:schemeClr val="tx1"/>
                </a:solidFill>
              </a:rPr>
              <a:t>R: 0</a:t>
            </a:r>
          </a:p>
          <a:p>
            <a:pPr>
              <a:lnSpc>
                <a:spcPct val="90000"/>
              </a:lnSpc>
            </a:pPr>
            <a:r>
              <a:rPr lang="en-GB" sz="933" noProof="0">
                <a:solidFill>
                  <a:schemeClr val="tx1"/>
                </a:solidFill>
              </a:rPr>
              <a:t>G: 151</a:t>
            </a:r>
          </a:p>
          <a:p>
            <a:pPr>
              <a:lnSpc>
                <a:spcPct val="90000"/>
              </a:lnSpc>
            </a:pPr>
            <a:r>
              <a:rPr lang="en-GB" sz="933" noProof="0">
                <a:solidFill>
                  <a:schemeClr val="tx1"/>
                </a:solidFill>
              </a:rPr>
              <a:t>B: 169</a:t>
            </a:r>
          </a:p>
        </p:txBody>
      </p:sp>
      <p:sp>
        <p:nvSpPr>
          <p:cNvPr id="110" name="Freeform 8"/>
          <p:cNvSpPr>
            <a:spLocks noChangeAspect="1"/>
          </p:cNvSpPr>
          <p:nvPr userDrawn="1"/>
        </p:nvSpPr>
        <p:spPr bwMode="auto">
          <a:xfrm>
            <a:off x="5012245"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33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11" name="Rectangle 110"/>
          <p:cNvSpPr/>
          <p:nvPr userDrawn="1"/>
        </p:nvSpPr>
        <p:spPr>
          <a:xfrm>
            <a:off x="5505450" y="4242296"/>
            <a:ext cx="734233"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PNEUMO</a:t>
            </a:r>
          </a:p>
          <a:p>
            <a:pPr>
              <a:lnSpc>
                <a:spcPct val="90000"/>
              </a:lnSpc>
            </a:pPr>
            <a:r>
              <a:rPr lang="en-GB" sz="933" noProof="0">
                <a:solidFill>
                  <a:schemeClr val="tx1"/>
                </a:solidFill>
              </a:rPr>
              <a:t>R: 0</a:t>
            </a:r>
          </a:p>
          <a:p>
            <a:pPr>
              <a:lnSpc>
                <a:spcPct val="90000"/>
              </a:lnSpc>
            </a:pPr>
            <a:r>
              <a:rPr lang="en-GB" sz="933" noProof="0">
                <a:solidFill>
                  <a:schemeClr val="tx1"/>
                </a:solidFill>
              </a:rPr>
              <a:t>G: 51</a:t>
            </a:r>
          </a:p>
          <a:p>
            <a:pPr>
              <a:lnSpc>
                <a:spcPct val="90000"/>
              </a:lnSpc>
            </a:pPr>
            <a:r>
              <a:rPr lang="en-GB" sz="933" noProof="0">
                <a:solidFill>
                  <a:schemeClr val="tx1"/>
                </a:solidFill>
              </a:rPr>
              <a:t>B: 160</a:t>
            </a:r>
          </a:p>
        </p:txBody>
      </p:sp>
      <p:sp>
        <p:nvSpPr>
          <p:cNvPr id="108" name="Freeform 8"/>
          <p:cNvSpPr>
            <a:spLocks noChangeAspect="1"/>
          </p:cNvSpPr>
          <p:nvPr userDrawn="1"/>
        </p:nvSpPr>
        <p:spPr bwMode="auto">
          <a:xfrm>
            <a:off x="6457437"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09" name="Rectangle 108"/>
          <p:cNvSpPr/>
          <p:nvPr userDrawn="1"/>
        </p:nvSpPr>
        <p:spPr>
          <a:xfrm>
            <a:off x="6950643" y="4242296"/>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ROTAVIRUS</a:t>
            </a:r>
          </a:p>
          <a:p>
            <a:pPr>
              <a:lnSpc>
                <a:spcPct val="90000"/>
              </a:lnSpc>
            </a:pPr>
            <a:r>
              <a:rPr lang="en-GB" sz="933" noProof="0">
                <a:solidFill>
                  <a:schemeClr val="tx1"/>
                </a:solidFill>
              </a:rPr>
              <a:t>R: 216</a:t>
            </a:r>
          </a:p>
          <a:p>
            <a:pPr>
              <a:lnSpc>
                <a:spcPct val="90000"/>
              </a:lnSpc>
            </a:pPr>
            <a:r>
              <a:rPr lang="en-GB" sz="933" noProof="0">
                <a:solidFill>
                  <a:schemeClr val="tx1"/>
                </a:solidFill>
              </a:rPr>
              <a:t>G: 96</a:t>
            </a:r>
          </a:p>
          <a:p>
            <a:pPr>
              <a:lnSpc>
                <a:spcPct val="90000"/>
              </a:lnSpc>
            </a:pPr>
            <a:r>
              <a:rPr lang="en-GB" sz="933" noProof="0">
                <a:solidFill>
                  <a:schemeClr val="tx1"/>
                </a:solidFill>
              </a:rPr>
              <a:t>B: 24</a:t>
            </a:r>
          </a:p>
        </p:txBody>
      </p:sp>
      <p:sp>
        <p:nvSpPr>
          <p:cNvPr id="106" name="Freeform 8"/>
          <p:cNvSpPr>
            <a:spLocks noChangeAspect="1"/>
          </p:cNvSpPr>
          <p:nvPr userDrawn="1"/>
        </p:nvSpPr>
        <p:spPr bwMode="auto">
          <a:xfrm>
            <a:off x="7869403"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EA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07" name="Rectangle 106"/>
          <p:cNvSpPr/>
          <p:nvPr userDrawn="1"/>
        </p:nvSpPr>
        <p:spPr>
          <a:xfrm>
            <a:off x="8362608" y="4242296"/>
            <a:ext cx="997755"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YELLOW</a:t>
            </a:r>
          </a:p>
          <a:p>
            <a:pPr>
              <a:lnSpc>
                <a:spcPct val="90000"/>
              </a:lnSpc>
            </a:pPr>
            <a:r>
              <a:rPr lang="en-GB" sz="933" b="1" noProof="0">
                <a:solidFill>
                  <a:schemeClr val="tx1"/>
                </a:solidFill>
              </a:rPr>
              <a:t>FEVER</a:t>
            </a:r>
          </a:p>
          <a:p>
            <a:pPr>
              <a:lnSpc>
                <a:spcPct val="90000"/>
              </a:lnSpc>
            </a:pPr>
            <a:r>
              <a:rPr lang="en-GB" sz="933" noProof="0">
                <a:solidFill>
                  <a:schemeClr val="tx1"/>
                </a:solidFill>
              </a:rPr>
              <a:t>R: 234</a:t>
            </a:r>
          </a:p>
          <a:p>
            <a:pPr>
              <a:lnSpc>
                <a:spcPct val="90000"/>
              </a:lnSpc>
            </a:pPr>
            <a:r>
              <a:rPr lang="en-GB" sz="933" noProof="0">
                <a:solidFill>
                  <a:schemeClr val="tx1"/>
                </a:solidFill>
              </a:rPr>
              <a:t>G: 170</a:t>
            </a:r>
          </a:p>
          <a:p>
            <a:pPr>
              <a:lnSpc>
                <a:spcPct val="90000"/>
              </a:lnSpc>
            </a:pPr>
            <a:r>
              <a:rPr lang="en-GB" sz="933" noProof="0">
                <a:solidFill>
                  <a:schemeClr val="tx1"/>
                </a:solidFill>
              </a:rPr>
              <a:t>B: 0</a:t>
            </a:r>
          </a:p>
        </p:txBody>
      </p:sp>
      <p:sp>
        <p:nvSpPr>
          <p:cNvPr id="104" name="Freeform 8"/>
          <p:cNvSpPr>
            <a:spLocks noChangeAspect="1"/>
          </p:cNvSpPr>
          <p:nvPr userDrawn="1"/>
        </p:nvSpPr>
        <p:spPr bwMode="auto">
          <a:xfrm>
            <a:off x="9493117"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7D7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05" name="Rectangle 104"/>
          <p:cNvSpPr/>
          <p:nvPr userDrawn="1"/>
        </p:nvSpPr>
        <p:spPr>
          <a:xfrm>
            <a:off x="9986323" y="4242296"/>
            <a:ext cx="766195"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TYPHOÏD</a:t>
            </a:r>
          </a:p>
          <a:p>
            <a:pPr>
              <a:lnSpc>
                <a:spcPct val="90000"/>
              </a:lnSpc>
            </a:pPr>
            <a:r>
              <a:rPr lang="en-GB" sz="933" noProof="0">
                <a:solidFill>
                  <a:schemeClr val="tx1"/>
                </a:solidFill>
              </a:rPr>
              <a:t>R: 125</a:t>
            </a:r>
          </a:p>
          <a:p>
            <a:pPr>
              <a:lnSpc>
                <a:spcPct val="90000"/>
              </a:lnSpc>
            </a:pPr>
            <a:r>
              <a:rPr lang="en-GB" sz="933" noProof="0">
                <a:solidFill>
                  <a:schemeClr val="tx1"/>
                </a:solidFill>
              </a:rPr>
              <a:t>G: 112</a:t>
            </a:r>
          </a:p>
          <a:p>
            <a:pPr>
              <a:lnSpc>
                <a:spcPct val="90000"/>
              </a:lnSpc>
            </a:pPr>
            <a:r>
              <a:rPr lang="en-GB" sz="933" noProof="0">
                <a:solidFill>
                  <a:schemeClr val="tx1"/>
                </a:solidFill>
              </a:rPr>
              <a:t>B: 97</a:t>
            </a:r>
          </a:p>
        </p:txBody>
      </p:sp>
      <p:sp>
        <p:nvSpPr>
          <p:cNvPr id="123" name="Freeform 8"/>
          <p:cNvSpPr>
            <a:spLocks noChangeAspect="1"/>
          </p:cNvSpPr>
          <p:nvPr userDrawn="1"/>
        </p:nvSpPr>
        <p:spPr bwMode="auto">
          <a:xfrm>
            <a:off x="672000"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F5C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4" name="Rectangle 123"/>
          <p:cNvSpPr/>
          <p:nvPr userDrawn="1"/>
        </p:nvSpPr>
        <p:spPr>
          <a:xfrm>
            <a:off x="1165206"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CHOLERA</a:t>
            </a:r>
          </a:p>
          <a:p>
            <a:pPr>
              <a:lnSpc>
                <a:spcPct val="90000"/>
              </a:lnSpc>
            </a:pPr>
            <a:r>
              <a:rPr lang="en-GB" sz="933" noProof="0">
                <a:solidFill>
                  <a:schemeClr val="tx1"/>
                </a:solidFill>
              </a:rPr>
              <a:t>R: 175</a:t>
            </a:r>
          </a:p>
          <a:p>
            <a:pPr>
              <a:lnSpc>
                <a:spcPct val="90000"/>
              </a:lnSpc>
            </a:pPr>
            <a:r>
              <a:rPr lang="en-GB" sz="933" noProof="0">
                <a:solidFill>
                  <a:schemeClr val="tx1"/>
                </a:solidFill>
              </a:rPr>
              <a:t>G: 92</a:t>
            </a:r>
          </a:p>
          <a:p>
            <a:pPr>
              <a:lnSpc>
                <a:spcPct val="90000"/>
              </a:lnSpc>
            </a:pPr>
            <a:r>
              <a:rPr lang="en-GB" sz="933" noProof="0">
                <a:solidFill>
                  <a:schemeClr val="tx1"/>
                </a:solidFill>
              </a:rPr>
              <a:t>B: 55</a:t>
            </a:r>
          </a:p>
        </p:txBody>
      </p:sp>
      <p:sp>
        <p:nvSpPr>
          <p:cNvPr id="121" name="Freeform 8"/>
          <p:cNvSpPr>
            <a:spLocks noChangeAspect="1"/>
          </p:cNvSpPr>
          <p:nvPr userDrawn="1"/>
        </p:nvSpPr>
        <p:spPr bwMode="auto">
          <a:xfrm>
            <a:off x="2117192"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50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2" name="Rectangle 121"/>
          <p:cNvSpPr/>
          <p:nvPr userDrawn="1"/>
        </p:nvSpPr>
        <p:spPr>
          <a:xfrm>
            <a:off x="2610398"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HEPB</a:t>
            </a:r>
          </a:p>
          <a:p>
            <a:pPr>
              <a:lnSpc>
                <a:spcPct val="90000"/>
              </a:lnSpc>
            </a:pPr>
            <a:r>
              <a:rPr lang="en-GB" sz="933" noProof="0">
                <a:solidFill>
                  <a:schemeClr val="tx1"/>
                </a:solidFill>
              </a:rPr>
              <a:t>R: 213</a:t>
            </a:r>
          </a:p>
          <a:p>
            <a:pPr>
              <a:lnSpc>
                <a:spcPct val="90000"/>
              </a:lnSpc>
            </a:pPr>
            <a:r>
              <a:rPr lang="en-GB" sz="933" noProof="0">
                <a:solidFill>
                  <a:schemeClr val="tx1"/>
                </a:solidFill>
              </a:rPr>
              <a:t>G: 0</a:t>
            </a:r>
          </a:p>
          <a:p>
            <a:pPr>
              <a:lnSpc>
                <a:spcPct val="90000"/>
              </a:lnSpc>
            </a:pPr>
            <a:r>
              <a:rPr lang="en-GB" sz="933" noProof="0">
                <a:solidFill>
                  <a:schemeClr val="tx1"/>
                </a:solidFill>
              </a:rPr>
              <a:t>B: 50</a:t>
            </a:r>
          </a:p>
        </p:txBody>
      </p:sp>
      <p:sp>
        <p:nvSpPr>
          <p:cNvPr id="119" name="Freeform 8"/>
          <p:cNvSpPr>
            <a:spLocks noChangeAspect="1"/>
          </p:cNvSpPr>
          <p:nvPr userDrawn="1"/>
        </p:nvSpPr>
        <p:spPr bwMode="auto">
          <a:xfrm>
            <a:off x="3529157"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F59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0" name="Rectangle 119"/>
          <p:cNvSpPr/>
          <p:nvPr userDrawn="1"/>
        </p:nvSpPr>
        <p:spPr>
          <a:xfrm>
            <a:off x="4022363"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HPV</a:t>
            </a:r>
          </a:p>
          <a:p>
            <a:pPr>
              <a:lnSpc>
                <a:spcPct val="90000"/>
              </a:lnSpc>
            </a:pPr>
            <a:r>
              <a:rPr lang="en-GB" sz="933" noProof="0">
                <a:solidFill>
                  <a:schemeClr val="tx1"/>
                </a:solidFill>
              </a:rPr>
              <a:t>R: 245</a:t>
            </a:r>
          </a:p>
          <a:p>
            <a:pPr>
              <a:lnSpc>
                <a:spcPct val="90000"/>
              </a:lnSpc>
            </a:pPr>
            <a:r>
              <a:rPr lang="en-GB" sz="933" noProof="0">
                <a:solidFill>
                  <a:schemeClr val="tx1"/>
                </a:solidFill>
              </a:rPr>
              <a:t>G: 155</a:t>
            </a:r>
          </a:p>
          <a:p>
            <a:pPr>
              <a:lnSpc>
                <a:spcPct val="90000"/>
              </a:lnSpc>
            </a:pPr>
            <a:r>
              <a:rPr lang="en-GB" sz="933" noProof="0">
                <a:solidFill>
                  <a:schemeClr val="tx1"/>
                </a:solidFill>
              </a:rPr>
              <a:t>B: 187</a:t>
            </a:r>
          </a:p>
        </p:txBody>
      </p:sp>
      <p:sp>
        <p:nvSpPr>
          <p:cNvPr id="126" name="Freeform 8"/>
          <p:cNvSpPr>
            <a:spLocks noChangeAspect="1"/>
          </p:cNvSpPr>
          <p:nvPr userDrawn="1"/>
        </p:nvSpPr>
        <p:spPr bwMode="auto">
          <a:xfrm>
            <a:off x="5012245"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4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7" name="Rectangle 126"/>
          <p:cNvSpPr/>
          <p:nvPr userDrawn="1"/>
        </p:nvSpPr>
        <p:spPr>
          <a:xfrm>
            <a:off x="5505451" y="5107517"/>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RABIES</a:t>
            </a:r>
          </a:p>
          <a:p>
            <a:pPr>
              <a:lnSpc>
                <a:spcPct val="90000"/>
              </a:lnSpc>
            </a:pPr>
            <a:r>
              <a:rPr lang="en-GB" sz="933" noProof="0">
                <a:solidFill>
                  <a:schemeClr val="tx1"/>
                </a:solidFill>
              </a:rPr>
              <a:t>R: 100</a:t>
            </a:r>
          </a:p>
          <a:p>
            <a:pPr>
              <a:lnSpc>
                <a:spcPct val="90000"/>
              </a:lnSpc>
            </a:pPr>
            <a:r>
              <a:rPr lang="en-GB" sz="933" noProof="0">
                <a:solidFill>
                  <a:schemeClr val="tx1"/>
                </a:solidFill>
              </a:rPr>
              <a:t>G: 99</a:t>
            </a:r>
          </a:p>
          <a:p>
            <a:pPr>
              <a:lnSpc>
                <a:spcPct val="90000"/>
              </a:lnSpc>
            </a:pPr>
            <a:r>
              <a:rPr lang="en-GB" sz="933" noProof="0">
                <a:solidFill>
                  <a:schemeClr val="tx1"/>
                </a:solidFill>
              </a:rPr>
              <a:t>B: 99</a:t>
            </a:r>
          </a:p>
        </p:txBody>
      </p:sp>
      <p:sp>
        <p:nvSpPr>
          <p:cNvPr id="137" name="Freeform 8"/>
          <p:cNvSpPr>
            <a:spLocks noChangeAspect="1"/>
          </p:cNvSpPr>
          <p:nvPr userDrawn="1"/>
        </p:nvSpPr>
        <p:spPr bwMode="auto">
          <a:xfrm>
            <a:off x="672000"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5A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38" name="Rectangle 137"/>
          <p:cNvSpPr/>
          <p:nvPr userDrawn="1"/>
        </p:nvSpPr>
        <p:spPr>
          <a:xfrm>
            <a:off x="1165205" y="4242296"/>
            <a:ext cx="802336"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ASLES</a:t>
            </a:r>
          </a:p>
          <a:p>
            <a:pPr>
              <a:lnSpc>
                <a:spcPct val="90000"/>
              </a:lnSpc>
            </a:pPr>
            <a:r>
              <a:rPr lang="en-GB" sz="933" b="1" noProof="0">
                <a:solidFill>
                  <a:schemeClr val="tx1"/>
                </a:solidFill>
              </a:rPr>
              <a:t>RUBELLA</a:t>
            </a:r>
          </a:p>
          <a:p>
            <a:pPr>
              <a:lnSpc>
                <a:spcPct val="90000"/>
              </a:lnSpc>
            </a:pPr>
            <a:r>
              <a:rPr lang="en-GB" sz="933" noProof="0">
                <a:solidFill>
                  <a:schemeClr val="tx1"/>
                </a:solidFill>
              </a:rPr>
              <a:t>R: 0</a:t>
            </a:r>
          </a:p>
          <a:p>
            <a:pPr>
              <a:lnSpc>
                <a:spcPct val="90000"/>
              </a:lnSpc>
            </a:pPr>
            <a:r>
              <a:rPr lang="en-GB" sz="933" noProof="0">
                <a:solidFill>
                  <a:schemeClr val="tx1"/>
                </a:solidFill>
              </a:rPr>
              <a:t>G: 90</a:t>
            </a:r>
          </a:p>
          <a:p>
            <a:pPr>
              <a:lnSpc>
                <a:spcPct val="90000"/>
              </a:lnSpc>
            </a:pPr>
            <a:r>
              <a:rPr lang="en-GB" sz="933" noProof="0">
                <a:solidFill>
                  <a:schemeClr val="tx1"/>
                </a:solidFill>
              </a:rPr>
              <a:t>B: 112</a:t>
            </a:r>
          </a:p>
        </p:txBody>
      </p:sp>
      <p:sp>
        <p:nvSpPr>
          <p:cNvPr id="135" name="Freeform 8"/>
          <p:cNvSpPr>
            <a:spLocks noChangeAspect="1"/>
          </p:cNvSpPr>
          <p:nvPr userDrawn="1"/>
        </p:nvSpPr>
        <p:spPr bwMode="auto">
          <a:xfrm>
            <a:off x="2117192"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36" name="Rectangle 135"/>
          <p:cNvSpPr/>
          <p:nvPr userDrawn="1"/>
        </p:nvSpPr>
        <p:spPr>
          <a:xfrm>
            <a:off x="2610397" y="4242296"/>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NINGITIS</a:t>
            </a:r>
          </a:p>
          <a:p>
            <a:pPr>
              <a:lnSpc>
                <a:spcPct val="90000"/>
              </a:lnSpc>
            </a:pPr>
            <a:r>
              <a:rPr lang="en-GB" sz="933" b="1" noProof="0">
                <a:solidFill>
                  <a:schemeClr val="tx1"/>
                </a:solidFill>
              </a:rPr>
              <a:t>A</a:t>
            </a:r>
          </a:p>
          <a:p>
            <a:pPr>
              <a:lnSpc>
                <a:spcPct val="90000"/>
              </a:lnSpc>
            </a:pPr>
            <a:r>
              <a:rPr lang="en-GB" sz="933" noProof="0">
                <a:solidFill>
                  <a:schemeClr val="tx1"/>
                </a:solidFill>
              </a:rPr>
              <a:t>R: 0</a:t>
            </a:r>
          </a:p>
          <a:p>
            <a:pPr>
              <a:lnSpc>
                <a:spcPct val="90000"/>
              </a:lnSpc>
            </a:pPr>
            <a:r>
              <a:rPr lang="en-GB" sz="933" noProof="0">
                <a:solidFill>
                  <a:schemeClr val="tx1"/>
                </a:solidFill>
              </a:rPr>
              <a:t>G: 150</a:t>
            </a:r>
          </a:p>
          <a:p>
            <a:pPr>
              <a:lnSpc>
                <a:spcPct val="90000"/>
              </a:lnSpc>
            </a:pPr>
            <a:r>
              <a:rPr lang="en-GB" sz="933" noProof="0">
                <a:solidFill>
                  <a:schemeClr val="tx1"/>
                </a:solidFill>
              </a:rPr>
              <a:t>B: 57</a:t>
            </a:r>
          </a:p>
        </p:txBody>
      </p:sp>
      <p:sp>
        <p:nvSpPr>
          <p:cNvPr id="133" name="Freeform 8"/>
          <p:cNvSpPr>
            <a:spLocks noChangeAspect="1"/>
          </p:cNvSpPr>
          <p:nvPr userDrawn="1"/>
        </p:nvSpPr>
        <p:spPr bwMode="auto">
          <a:xfrm>
            <a:off x="3529157"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532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34" name="Rectangle 133"/>
          <p:cNvSpPr/>
          <p:nvPr userDrawn="1"/>
        </p:nvSpPr>
        <p:spPr>
          <a:xfrm>
            <a:off x="4022363" y="4242296"/>
            <a:ext cx="989883"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PENTA</a:t>
            </a:r>
          </a:p>
          <a:p>
            <a:pPr>
              <a:lnSpc>
                <a:spcPct val="90000"/>
              </a:lnSpc>
            </a:pPr>
            <a:r>
              <a:rPr lang="en-GB" sz="933" b="1" noProof="0">
                <a:solidFill>
                  <a:schemeClr val="tx1"/>
                </a:solidFill>
              </a:rPr>
              <a:t>DTP–HEP-HIB</a:t>
            </a:r>
          </a:p>
          <a:p>
            <a:pPr>
              <a:lnSpc>
                <a:spcPct val="90000"/>
              </a:lnSpc>
            </a:pPr>
            <a:r>
              <a:rPr lang="en-GB" sz="933" noProof="0">
                <a:solidFill>
                  <a:schemeClr val="tx1"/>
                </a:solidFill>
              </a:rPr>
              <a:t>R: 101</a:t>
            </a:r>
          </a:p>
          <a:p>
            <a:pPr>
              <a:lnSpc>
                <a:spcPct val="90000"/>
              </a:lnSpc>
            </a:pPr>
            <a:r>
              <a:rPr lang="en-GB" sz="933" noProof="0">
                <a:solidFill>
                  <a:schemeClr val="tx1"/>
                </a:solidFill>
              </a:rPr>
              <a:t>G: 50</a:t>
            </a:r>
          </a:p>
          <a:p>
            <a:pPr>
              <a:lnSpc>
                <a:spcPct val="90000"/>
              </a:lnSpc>
            </a:pPr>
            <a:r>
              <a:rPr lang="en-GB" sz="933" noProof="0">
                <a:solidFill>
                  <a:schemeClr val="tx1"/>
                </a:solidFill>
              </a:rPr>
              <a:t>B: 121</a:t>
            </a:r>
          </a:p>
        </p:txBody>
      </p:sp>
      <p:sp>
        <p:nvSpPr>
          <p:cNvPr id="149" name="Freeform 8"/>
          <p:cNvSpPr>
            <a:spLocks noChangeAspect="1"/>
          </p:cNvSpPr>
          <p:nvPr userDrawn="1"/>
        </p:nvSpPr>
        <p:spPr bwMode="auto">
          <a:xfrm>
            <a:off x="672000"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50" name="Rectangle 149"/>
          <p:cNvSpPr/>
          <p:nvPr userDrawn="1"/>
        </p:nvSpPr>
        <p:spPr>
          <a:xfrm>
            <a:off x="1165205" y="5107517"/>
            <a:ext cx="802336"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DENGUE</a:t>
            </a:r>
          </a:p>
          <a:p>
            <a:pPr>
              <a:lnSpc>
                <a:spcPct val="90000"/>
              </a:lnSpc>
            </a:pPr>
            <a:r>
              <a:rPr lang="en-GB" sz="933" noProof="0">
                <a:solidFill>
                  <a:schemeClr val="tx1"/>
                </a:solidFill>
              </a:rPr>
              <a:t>R: 198</a:t>
            </a:r>
          </a:p>
          <a:p>
            <a:pPr>
              <a:lnSpc>
                <a:spcPct val="90000"/>
              </a:lnSpc>
            </a:pPr>
            <a:r>
              <a:rPr lang="en-GB" sz="933" noProof="0">
                <a:solidFill>
                  <a:schemeClr val="tx1"/>
                </a:solidFill>
              </a:rPr>
              <a:t>G:</a:t>
            </a:r>
            <a:r>
              <a:rPr lang="en-GB" sz="933" baseline="0" noProof="0">
                <a:solidFill>
                  <a:schemeClr val="tx1"/>
                </a:solidFill>
              </a:rPr>
              <a:t> </a:t>
            </a:r>
            <a:r>
              <a:rPr lang="en-GB" sz="933" noProof="0">
                <a:solidFill>
                  <a:schemeClr val="tx1"/>
                </a:solidFill>
              </a:rPr>
              <a:t>198</a:t>
            </a:r>
          </a:p>
          <a:p>
            <a:pPr>
              <a:lnSpc>
                <a:spcPct val="90000"/>
              </a:lnSpc>
            </a:pPr>
            <a:r>
              <a:rPr lang="en-GB" sz="933" noProof="0">
                <a:solidFill>
                  <a:schemeClr val="tx1"/>
                </a:solidFill>
              </a:rPr>
              <a:t>B:</a:t>
            </a:r>
            <a:r>
              <a:rPr lang="en-GB" sz="933" baseline="0" noProof="0">
                <a:solidFill>
                  <a:schemeClr val="tx1"/>
                </a:solidFill>
              </a:rPr>
              <a:t> </a:t>
            </a:r>
            <a:r>
              <a:rPr lang="en-GB" sz="933" noProof="0">
                <a:solidFill>
                  <a:schemeClr val="tx1"/>
                </a:solidFill>
              </a:rPr>
              <a:t>198</a:t>
            </a:r>
          </a:p>
        </p:txBody>
      </p:sp>
      <p:sp>
        <p:nvSpPr>
          <p:cNvPr id="147" name="Freeform 8"/>
          <p:cNvSpPr>
            <a:spLocks noChangeAspect="1"/>
          </p:cNvSpPr>
          <p:nvPr userDrawn="1"/>
        </p:nvSpPr>
        <p:spPr bwMode="auto">
          <a:xfrm>
            <a:off x="2117192"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8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48" name="Rectangle 147"/>
          <p:cNvSpPr/>
          <p:nvPr userDrawn="1"/>
        </p:nvSpPr>
        <p:spPr>
          <a:xfrm>
            <a:off x="2610398" y="5107517"/>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ALARIA</a:t>
            </a:r>
          </a:p>
          <a:p>
            <a:pPr>
              <a:lnSpc>
                <a:spcPct val="90000"/>
              </a:lnSpc>
            </a:pPr>
            <a:r>
              <a:rPr lang="en-GB" sz="933" noProof="0">
                <a:solidFill>
                  <a:schemeClr val="tx1"/>
                </a:solidFill>
              </a:rPr>
              <a:t>R: 168</a:t>
            </a:r>
          </a:p>
          <a:p>
            <a:pPr>
              <a:lnSpc>
                <a:spcPct val="90000"/>
              </a:lnSpc>
            </a:pPr>
            <a:r>
              <a:rPr lang="en-GB" sz="933" noProof="0">
                <a:solidFill>
                  <a:schemeClr val="tx1"/>
                </a:solidFill>
              </a:rPr>
              <a:t>G: 168</a:t>
            </a:r>
          </a:p>
          <a:p>
            <a:pPr>
              <a:lnSpc>
                <a:spcPct val="90000"/>
              </a:lnSpc>
            </a:pPr>
            <a:r>
              <a:rPr lang="en-GB" sz="933" noProof="0">
                <a:solidFill>
                  <a:schemeClr val="tx1"/>
                </a:solidFill>
              </a:rPr>
              <a:t>B: 167</a:t>
            </a:r>
          </a:p>
        </p:txBody>
      </p:sp>
      <p:sp>
        <p:nvSpPr>
          <p:cNvPr id="145" name="Freeform 8"/>
          <p:cNvSpPr>
            <a:spLocks noChangeAspect="1"/>
          </p:cNvSpPr>
          <p:nvPr userDrawn="1"/>
        </p:nvSpPr>
        <p:spPr bwMode="auto">
          <a:xfrm>
            <a:off x="3529157"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46" name="Rectangle 145"/>
          <p:cNvSpPr/>
          <p:nvPr userDrawn="1"/>
        </p:nvSpPr>
        <p:spPr>
          <a:xfrm>
            <a:off x="4022363" y="5107517"/>
            <a:ext cx="989883"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ATERNAL</a:t>
            </a:r>
          </a:p>
          <a:p>
            <a:pPr>
              <a:lnSpc>
                <a:spcPct val="90000"/>
              </a:lnSpc>
            </a:pPr>
            <a:r>
              <a:rPr lang="en-GB" sz="933" b="1" noProof="0">
                <a:solidFill>
                  <a:schemeClr val="tx1"/>
                </a:solidFill>
              </a:rPr>
              <a:t>FLU</a:t>
            </a:r>
          </a:p>
          <a:p>
            <a:pPr>
              <a:lnSpc>
                <a:spcPct val="90000"/>
              </a:lnSpc>
            </a:pPr>
            <a:r>
              <a:rPr lang="en-GB" sz="933" noProof="0">
                <a:solidFill>
                  <a:schemeClr val="tx1"/>
                </a:solidFill>
              </a:rPr>
              <a:t>R: 135</a:t>
            </a:r>
          </a:p>
          <a:p>
            <a:pPr>
              <a:lnSpc>
                <a:spcPct val="90000"/>
              </a:lnSpc>
            </a:pPr>
            <a:r>
              <a:rPr lang="en-GB" sz="933" noProof="0">
                <a:solidFill>
                  <a:schemeClr val="tx1"/>
                </a:solidFill>
              </a:rPr>
              <a:t>G: 135</a:t>
            </a:r>
          </a:p>
          <a:p>
            <a:pPr>
              <a:lnSpc>
                <a:spcPct val="90000"/>
              </a:lnSpc>
            </a:pPr>
            <a:r>
              <a:rPr lang="en-GB" sz="933" noProof="0">
                <a:solidFill>
                  <a:schemeClr val="tx1"/>
                </a:solidFill>
              </a:rPr>
              <a:t>B: 135</a:t>
            </a:r>
          </a:p>
        </p:txBody>
      </p:sp>
    </p:spTree>
    <p:extLst>
      <p:ext uri="{BB962C8B-B14F-4D97-AF65-F5344CB8AC3E}">
        <p14:creationId xmlns:p14="http://schemas.microsoft.com/office/powerpoint/2010/main" val="372202573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E238C5-FDA7-4D0A-B067-25217FDA4442}" type="datetimeFigureOut">
              <a:rPr lang="en-US" smtClean="0"/>
              <a:t>8/2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5865D4-F826-4C5B-A587-97EC6A0008D3}" type="slidenum">
              <a:rPr lang="en-US" smtClean="0"/>
              <a:t>‹#›</a:t>
            </a:fld>
            <a:endParaRPr lang="en-US"/>
          </a:p>
        </p:txBody>
      </p:sp>
    </p:spTree>
    <p:extLst>
      <p:ext uri="{BB962C8B-B14F-4D97-AF65-F5344CB8AC3E}">
        <p14:creationId xmlns:p14="http://schemas.microsoft.com/office/powerpoint/2010/main" val="9293621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AE238C5-FDA7-4D0A-B067-25217FDA4442}" type="datetimeFigureOut">
              <a:rPr lang="en-US" smtClean="0"/>
              <a:t>8/2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5865D4-F826-4C5B-A587-97EC6A0008D3}" type="slidenum">
              <a:rPr lang="en-US" smtClean="0"/>
              <a:t>‹#›</a:t>
            </a:fld>
            <a:endParaRPr lang="en-US"/>
          </a:p>
        </p:txBody>
      </p:sp>
    </p:spTree>
    <p:extLst>
      <p:ext uri="{BB962C8B-B14F-4D97-AF65-F5344CB8AC3E}">
        <p14:creationId xmlns:p14="http://schemas.microsoft.com/office/powerpoint/2010/main" val="27462250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AE238C5-FDA7-4D0A-B067-25217FDA4442}" type="datetimeFigureOut">
              <a:rPr lang="en-US" smtClean="0"/>
              <a:t>8/2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5865D4-F826-4C5B-A587-97EC6A0008D3}" type="slidenum">
              <a:rPr lang="en-US" smtClean="0"/>
              <a:t>‹#›</a:t>
            </a:fld>
            <a:endParaRPr lang="en-US"/>
          </a:p>
        </p:txBody>
      </p:sp>
    </p:spTree>
    <p:extLst>
      <p:ext uri="{BB962C8B-B14F-4D97-AF65-F5344CB8AC3E}">
        <p14:creationId xmlns:p14="http://schemas.microsoft.com/office/powerpoint/2010/main" val="22751572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AE238C5-FDA7-4D0A-B067-25217FDA4442}" type="datetimeFigureOut">
              <a:rPr lang="en-US" smtClean="0"/>
              <a:t>8/2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75865D4-F826-4C5B-A587-97EC6A0008D3}" type="slidenum">
              <a:rPr lang="en-US" smtClean="0"/>
              <a:t>‹#›</a:t>
            </a:fld>
            <a:endParaRPr lang="en-US"/>
          </a:p>
        </p:txBody>
      </p:sp>
    </p:spTree>
    <p:extLst>
      <p:ext uri="{BB962C8B-B14F-4D97-AF65-F5344CB8AC3E}">
        <p14:creationId xmlns:p14="http://schemas.microsoft.com/office/powerpoint/2010/main" val="331902900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AE238C5-FDA7-4D0A-B067-25217FDA4442}" type="datetimeFigureOut">
              <a:rPr lang="en-US" smtClean="0"/>
              <a:t>8/20/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75865D4-F826-4C5B-A587-97EC6A0008D3}" type="slidenum">
              <a:rPr lang="en-US" smtClean="0"/>
              <a:t>‹#›</a:t>
            </a:fld>
            <a:endParaRPr lang="en-US"/>
          </a:p>
        </p:txBody>
      </p:sp>
    </p:spTree>
    <p:extLst>
      <p:ext uri="{BB962C8B-B14F-4D97-AF65-F5344CB8AC3E}">
        <p14:creationId xmlns:p14="http://schemas.microsoft.com/office/powerpoint/2010/main" val="136533343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AE238C5-FDA7-4D0A-B067-25217FDA4442}" type="datetimeFigureOut">
              <a:rPr lang="en-US" smtClean="0"/>
              <a:t>8/20/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75865D4-F826-4C5B-A587-97EC6A0008D3}" type="slidenum">
              <a:rPr lang="en-US" smtClean="0"/>
              <a:t>‹#›</a:t>
            </a:fld>
            <a:endParaRPr lang="en-US"/>
          </a:p>
        </p:txBody>
      </p:sp>
    </p:spTree>
    <p:extLst>
      <p:ext uri="{BB962C8B-B14F-4D97-AF65-F5344CB8AC3E}">
        <p14:creationId xmlns:p14="http://schemas.microsoft.com/office/powerpoint/2010/main" val="9475711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677635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23"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cs typeface="Arial" panose="020B0604020202020204" pitchFamily="34" charset="0"/>
              </a:rPr>
              <a:pPr lvl="0" algn="ctr" defTabSz="610744" fontAlgn="auto">
                <a:spcBef>
                  <a:spcPts val="0"/>
                </a:spcBef>
                <a:spcAft>
                  <a:spcPts val="0"/>
                </a:spcAft>
              </a:pPr>
              <a:t>‹#›</a:t>
            </a:fld>
            <a:endParaRPr lang="en-US" sz="900" b="0" dirty="0">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4970631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AE238C5-FDA7-4D0A-B067-25217FDA4442}" type="datetimeFigureOut">
              <a:rPr lang="en-US" smtClean="0"/>
              <a:t>8/20/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75865D4-F826-4C5B-A587-97EC6A0008D3}" type="slidenum">
              <a:rPr lang="en-US" smtClean="0"/>
              <a:t>‹#›</a:t>
            </a:fld>
            <a:endParaRPr lang="en-US"/>
          </a:p>
        </p:txBody>
      </p:sp>
    </p:spTree>
    <p:extLst>
      <p:ext uri="{BB962C8B-B14F-4D97-AF65-F5344CB8AC3E}">
        <p14:creationId xmlns:p14="http://schemas.microsoft.com/office/powerpoint/2010/main" val="409820348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AE238C5-FDA7-4D0A-B067-25217FDA4442}" type="datetimeFigureOut">
              <a:rPr lang="en-US" smtClean="0"/>
              <a:t>8/2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75865D4-F826-4C5B-A587-97EC6A0008D3}" type="slidenum">
              <a:rPr lang="en-US" smtClean="0"/>
              <a:t>‹#›</a:t>
            </a:fld>
            <a:endParaRPr lang="en-US"/>
          </a:p>
        </p:txBody>
      </p:sp>
    </p:spTree>
    <p:extLst>
      <p:ext uri="{BB962C8B-B14F-4D97-AF65-F5344CB8AC3E}">
        <p14:creationId xmlns:p14="http://schemas.microsoft.com/office/powerpoint/2010/main" val="38038334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AE238C5-FDA7-4D0A-B067-25217FDA4442}" type="datetimeFigureOut">
              <a:rPr lang="en-US" smtClean="0"/>
              <a:t>8/2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75865D4-F826-4C5B-A587-97EC6A0008D3}" type="slidenum">
              <a:rPr lang="en-US" smtClean="0"/>
              <a:t>‹#›</a:t>
            </a:fld>
            <a:endParaRPr lang="en-US"/>
          </a:p>
        </p:txBody>
      </p:sp>
    </p:spTree>
    <p:extLst>
      <p:ext uri="{BB962C8B-B14F-4D97-AF65-F5344CB8AC3E}">
        <p14:creationId xmlns:p14="http://schemas.microsoft.com/office/powerpoint/2010/main" val="2918921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AE238C5-FDA7-4D0A-B067-25217FDA4442}" type="datetimeFigureOut">
              <a:rPr lang="en-US" smtClean="0"/>
              <a:t>8/2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5865D4-F826-4C5B-A587-97EC6A0008D3}" type="slidenum">
              <a:rPr lang="en-US" smtClean="0"/>
              <a:t>‹#›</a:t>
            </a:fld>
            <a:endParaRPr lang="en-US"/>
          </a:p>
        </p:txBody>
      </p:sp>
    </p:spTree>
    <p:extLst>
      <p:ext uri="{BB962C8B-B14F-4D97-AF65-F5344CB8AC3E}">
        <p14:creationId xmlns:p14="http://schemas.microsoft.com/office/powerpoint/2010/main" val="1983910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AE238C5-FDA7-4D0A-B067-25217FDA4442}" type="datetimeFigureOut">
              <a:rPr lang="en-US" smtClean="0"/>
              <a:t>8/2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5865D4-F826-4C5B-A587-97EC6A0008D3}" type="slidenum">
              <a:rPr lang="en-US" smtClean="0"/>
              <a:t>‹#›</a:t>
            </a:fld>
            <a:endParaRPr lang="en-US"/>
          </a:p>
        </p:txBody>
      </p:sp>
    </p:spTree>
    <p:extLst>
      <p:ext uri="{BB962C8B-B14F-4D97-AF65-F5344CB8AC3E}">
        <p14:creationId xmlns:p14="http://schemas.microsoft.com/office/powerpoint/2010/main" val="8061357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hank_you_2">
    <p:spTree>
      <p:nvGrpSpPr>
        <p:cNvPr id="1" name=""/>
        <p:cNvGrpSpPr/>
        <p:nvPr/>
      </p:nvGrpSpPr>
      <p:grpSpPr>
        <a:xfrm>
          <a:off x="0" y="0"/>
          <a:ext cx="0" cy="0"/>
          <a:chOff x="0" y="0"/>
          <a:chExt cx="0" cy="0"/>
        </a:xfrm>
      </p:grpSpPr>
      <p:pic>
        <p:nvPicPr>
          <p:cNvPr id="18" name="Image 17" descr="Image_03.jpg"/>
          <p:cNvPicPr>
            <a:picLocks noChangeAspect="1"/>
          </p:cNvPicPr>
          <p:nvPr userDrawn="1"/>
        </p:nvPicPr>
        <p:blipFill>
          <a:blip r:embed="rId2" cstate="print"/>
          <a:stretch>
            <a:fillRect/>
          </a:stretch>
        </p:blipFill>
        <p:spPr bwMode="gray">
          <a:xfrm>
            <a:off x="6620071" y="-16850"/>
            <a:ext cx="5591179" cy="5712068"/>
          </a:xfrm>
          <a:prstGeom prst="rect">
            <a:avLst/>
          </a:prstGeom>
        </p:spPr>
      </p:pic>
      <p:sp>
        <p:nvSpPr>
          <p:cNvPr id="13" name="Forme libre 12"/>
          <p:cNvSpPr/>
          <p:nvPr userDrawn="1"/>
        </p:nvSpPr>
        <p:spPr>
          <a:xfrm>
            <a:off x="3" y="0"/>
            <a:ext cx="9394668" cy="5160000"/>
          </a:xfrm>
          <a:custGeom>
            <a:avLst/>
            <a:gdLst>
              <a:gd name="connsiteX0" fmla="*/ 0 w 7046001"/>
              <a:gd name="connsiteY0" fmla="*/ 0 h 3870000"/>
              <a:gd name="connsiteX1" fmla="*/ 7046001 w 7046001"/>
              <a:gd name="connsiteY1" fmla="*/ 0 h 3870000"/>
              <a:gd name="connsiteX2" fmla="*/ 5146256 w 7046001"/>
              <a:gd name="connsiteY2" fmla="*/ 3580448 h 3870000"/>
              <a:gd name="connsiteX3" fmla="*/ 5116340 w 7046001"/>
              <a:gd name="connsiteY3" fmla="*/ 3870000 h 3870000"/>
              <a:gd name="connsiteX4" fmla="*/ 0 w 7046001"/>
              <a:gd name="connsiteY4" fmla="*/ 3870000 h 387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6001" h="3870000">
                <a:moveTo>
                  <a:pt x="0" y="0"/>
                </a:moveTo>
                <a:lnTo>
                  <a:pt x="7046001" y="0"/>
                </a:lnTo>
                <a:cubicBezTo>
                  <a:pt x="7040718" y="945283"/>
                  <a:pt x="5396983" y="2115735"/>
                  <a:pt x="5146256" y="3580448"/>
                </a:cubicBezTo>
                <a:lnTo>
                  <a:pt x="5116340" y="3870000"/>
                </a:lnTo>
                <a:lnTo>
                  <a:pt x="0" y="3870000"/>
                </a:lnTo>
                <a:close/>
              </a:path>
            </a:pathLst>
          </a:cu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HANK YOU</a:t>
            </a:r>
          </a:p>
        </p:txBody>
      </p:sp>
      <p:sp>
        <p:nvSpPr>
          <p:cNvPr id="10" name="Espace réservé de la date 9"/>
          <p:cNvSpPr>
            <a:spLocks noGrp="1"/>
          </p:cNvSpPr>
          <p:nvPr>
            <p:ph type="dt" sz="half" idx="15"/>
          </p:nvPr>
        </p:nvSpPr>
        <p:spPr bwMode="gray"/>
        <p:txBody>
          <a:bodyPr/>
          <a:lstStyle/>
          <a:p>
            <a:r>
              <a:rPr lang="en-GB" noProof="0"/>
              <a:t>Date</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2" name="Espace réservé du pied de page 11"/>
          <p:cNvSpPr>
            <a:spLocks noGrp="1"/>
          </p:cNvSpPr>
          <p:nvPr>
            <p:ph type="ftr" sz="quarter" idx="17"/>
          </p:nvPr>
        </p:nvSpPr>
        <p:spPr bwMode="gray">
          <a:xfrm>
            <a:off x="672000" y="585600"/>
            <a:ext cx="6384000" cy="360000"/>
          </a:xfrm>
        </p:spPr>
        <p:txBody>
          <a:bodyPr/>
          <a:lstStyle>
            <a:lvl1pPr algn="l">
              <a:defRPr sz="2400" b="0">
                <a:solidFill>
                  <a:schemeClr val="bg1"/>
                </a:solidFill>
              </a:defRPr>
            </a:lvl1pPr>
          </a:lstStyle>
          <a:p>
            <a:r>
              <a:rPr lang="en-GB" noProof="0"/>
              <a:t>#add your hashtag</a:t>
            </a:r>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pPr lvl="0"/>
            <a:r>
              <a:rPr lang="en-GB" noProof="0"/>
              <a:t>Write your claim here</a:t>
            </a: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3600"/>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3060772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355039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747" name="think-cell Slide" r:id="rId10" imgW="592" imgH="591" progId="TCLayout.ActiveDocument.1">
                  <p:embed/>
                </p:oleObj>
              </mc:Choice>
              <mc:Fallback>
                <p:oleObj name="think-cell Slide" r:id="rId10" imgW="592" imgH="591"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cs typeface="Arial" panose="020B0604020202020204" pitchFamily="34" charset="0"/>
              </a:rPr>
              <a:pPr lvl="0" algn="ctr" defTabSz="610744" fontAlgn="auto">
                <a:spcBef>
                  <a:spcPts val="0"/>
                </a:spcBef>
                <a:spcAft>
                  <a:spcPts val="0"/>
                </a:spcAft>
              </a:pPr>
              <a:t>‹#›</a:t>
            </a:fld>
            <a:endParaRPr lang="en-US" sz="900" b="0" dirty="0">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179315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2788" name="think-cell Slide" r:id="rId11" imgW="413" imgH="416" progId="TCLayout.ActiveDocument.1">
                  <p:embed/>
                </p:oleObj>
              </mc:Choice>
              <mc:Fallback>
                <p:oleObj name="think-cell Slide" r:id="rId11" imgW="413" imgH="41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6"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Oval 10">
            <a:extLst>
              <a:ext uri="{FF2B5EF4-FFF2-40B4-BE49-F238E27FC236}">
                <a16:creationId xmlns:a16="http://schemas.microsoft.com/office/drawing/2014/main" id="{A39A8E68-A374-4DC8-A93F-4268A73EB6AD}"/>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a:latin typeface="Georgia" panose="02040502050405020303" pitchFamily="18" charset="0"/>
              <a:sym typeface="Georgia" panose="02040502050405020303" pitchFamily="18"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cs typeface="Arial" panose="020B0604020202020204" pitchFamily="34" charset="0"/>
              </a:rPr>
              <a:pPr lvl="0" algn="ctr" defTabSz="610744" fontAlgn="auto">
                <a:spcBef>
                  <a:spcPts val="0"/>
                </a:spcBef>
                <a:spcAft>
                  <a:spcPts val="0"/>
                </a:spcAft>
              </a:pPr>
              <a:t>‹#›</a:t>
            </a:fld>
            <a:endParaRPr lang="en-US" sz="900" b="0" dirty="0">
              <a:cs typeface="Arial" panose="020B0604020202020204" pitchFamily="34" charset="0"/>
            </a:endParaRPr>
          </a:p>
        </p:txBody>
      </p:sp>
    </p:spTree>
    <p:extLst>
      <p:ext uri="{BB962C8B-B14F-4D97-AF65-F5344CB8AC3E}">
        <p14:creationId xmlns:p14="http://schemas.microsoft.com/office/powerpoint/2010/main" val="24703695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42280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3812" name="think-cell Slide" r:id="rId11" imgW="413" imgH="416" progId="TCLayout.ActiveDocument.1">
                  <p:embed/>
                </p:oleObj>
              </mc:Choice>
              <mc:Fallback>
                <p:oleObj name="think-cell Slide" r:id="rId11" imgW="413" imgH="41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6"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Oval 10">
            <a:extLst>
              <a:ext uri="{FF2B5EF4-FFF2-40B4-BE49-F238E27FC236}">
                <a16:creationId xmlns:a16="http://schemas.microsoft.com/office/drawing/2014/main" id="{5E75C348-73B0-41AE-9D2B-FE7D86D54583}"/>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a:latin typeface="Georgia" panose="02040502050405020303" pitchFamily="18" charset="0"/>
              <a:sym typeface="Georgia" panose="02040502050405020303" pitchFamily="18"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cs typeface="Arial" panose="020B0604020202020204" pitchFamily="34" charset="0"/>
              </a:rPr>
              <a:pPr lvl="0" algn="ctr" defTabSz="610744" fontAlgn="auto">
                <a:spcBef>
                  <a:spcPts val="0"/>
                </a:spcBef>
                <a:spcAft>
                  <a:spcPts val="0"/>
                </a:spcAft>
              </a:pPr>
              <a:t>‹#›</a:t>
            </a:fld>
            <a:endParaRPr lang="en-US" sz="900" b="0" dirty="0">
              <a:cs typeface="Arial" panose="020B0604020202020204" pitchFamily="34" charset="0"/>
            </a:endParaRPr>
          </a:p>
        </p:txBody>
      </p:sp>
    </p:spTree>
    <p:extLst>
      <p:ext uri="{BB962C8B-B14F-4D97-AF65-F5344CB8AC3E}">
        <p14:creationId xmlns:p14="http://schemas.microsoft.com/office/powerpoint/2010/main" val="269291005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tags" Target="../tags/tag11.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10" Type="http://schemas.openxmlformats.org/officeDocument/2006/relationships/slideLayout" Target="../slideLayouts/slideLayout10.xml"/><Relationship Id="rId19" Type="http://schemas.openxmlformats.org/officeDocument/2006/relationships/vmlDrawing" Target="../drawings/vmlDrawing1.vml"/><Relationship Id="rId31"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tags" Target="../tags/tag133.xml"/><Relationship Id="rId39" Type="http://schemas.openxmlformats.org/officeDocument/2006/relationships/tags" Target="../tags/tag146.xml"/><Relationship Id="rId21" Type="http://schemas.openxmlformats.org/officeDocument/2006/relationships/tags" Target="../tags/tag128.xml"/><Relationship Id="rId34" Type="http://schemas.openxmlformats.org/officeDocument/2006/relationships/tags" Target="../tags/tag141.xml"/><Relationship Id="rId42" Type="http://schemas.openxmlformats.org/officeDocument/2006/relationships/oleObject" Target="../embeddings/oleObject19.bin"/><Relationship Id="rId7" Type="http://schemas.openxmlformats.org/officeDocument/2006/relationships/slideLayout" Target="../slideLayouts/slideLayout2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vmlDrawing" Target="../drawings/vmlDrawing19.vml"/><Relationship Id="rId29" Type="http://schemas.openxmlformats.org/officeDocument/2006/relationships/tags" Target="../tags/tag136.xml"/><Relationship Id="rId41" Type="http://schemas.openxmlformats.org/officeDocument/2006/relationships/tags" Target="../tags/tag148.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ags" Target="../tags/tag131.xml"/><Relationship Id="rId32" Type="http://schemas.openxmlformats.org/officeDocument/2006/relationships/tags" Target="../tags/tag139.xml"/><Relationship Id="rId37" Type="http://schemas.openxmlformats.org/officeDocument/2006/relationships/tags" Target="../tags/tag144.xml"/><Relationship Id="rId40" Type="http://schemas.openxmlformats.org/officeDocument/2006/relationships/tags" Target="../tags/tag147.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tags" Target="../tags/tag130.xml"/><Relationship Id="rId28" Type="http://schemas.openxmlformats.org/officeDocument/2006/relationships/tags" Target="../tags/tag135.xml"/><Relationship Id="rId36" Type="http://schemas.openxmlformats.org/officeDocument/2006/relationships/tags" Target="../tags/tag143.xml"/><Relationship Id="rId10" Type="http://schemas.openxmlformats.org/officeDocument/2006/relationships/slideLayout" Target="../slideLayouts/slideLayout27.xml"/><Relationship Id="rId19" Type="http://schemas.openxmlformats.org/officeDocument/2006/relationships/theme" Target="../theme/theme2.xml"/><Relationship Id="rId31" Type="http://schemas.openxmlformats.org/officeDocument/2006/relationships/tags" Target="../tags/tag138.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ags" Target="../tags/tag129.xml"/><Relationship Id="rId27" Type="http://schemas.openxmlformats.org/officeDocument/2006/relationships/tags" Target="../tags/tag134.xml"/><Relationship Id="rId30" Type="http://schemas.openxmlformats.org/officeDocument/2006/relationships/tags" Target="../tags/tag137.xml"/><Relationship Id="rId35" Type="http://schemas.openxmlformats.org/officeDocument/2006/relationships/tags" Target="../tags/tag142.xml"/><Relationship Id="rId43" Type="http://schemas.openxmlformats.org/officeDocument/2006/relationships/image" Target="../media/image2.emf"/><Relationship Id="rId8" Type="http://schemas.openxmlformats.org/officeDocument/2006/relationships/slideLayout" Target="../slideLayouts/slideLayout25.xml"/><Relationship Id="rId3" Type="http://schemas.openxmlformats.org/officeDocument/2006/relationships/slideLayout" Target="../slideLayouts/slideLayout20.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tags" Target="../tags/tag132.xml"/><Relationship Id="rId33" Type="http://schemas.openxmlformats.org/officeDocument/2006/relationships/tags" Target="../tags/tag140.xml"/><Relationship Id="rId38" Type="http://schemas.openxmlformats.org/officeDocument/2006/relationships/tags" Target="../tags/tag1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tags" Target="../tags/tag263.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vmlDrawing" Target="../drawings/vmlDrawing38.v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image" Target="../media/image14.png"/><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image" Target="../media/image13.emf"/><Relationship Id="rId10" Type="http://schemas.openxmlformats.org/officeDocument/2006/relationships/slideLayout" Target="../slideLayouts/slideLayout45.xml"/><Relationship Id="rId19" Type="http://schemas.openxmlformats.org/officeDocument/2006/relationships/theme" Target="../theme/theme3.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oleObject" Target="../embeddings/oleObject38.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heme" Target="../theme/theme4.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198009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6566" name="think-cell Slide" r:id="rId40" imgW="413" imgH="416" progId="TCLayout.ActiveDocument.1">
                  <p:embed/>
                </p:oleObj>
              </mc:Choice>
              <mc:Fallback>
                <p:oleObj name="think-cell Slide" r:id="rId40" imgW="413" imgH="416"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4736"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369332"/>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983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BDC259CA-4716-4157-A757-D227D00603CA}"/>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0345901C-E7E4-4539-8C77-F830B53AA849}"/>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hidden="1">
              <a:extLst>
                <a:ext uri="{FF2B5EF4-FFF2-40B4-BE49-F238E27FC236}">
                  <a16:creationId xmlns:a16="http://schemas.microsoft.com/office/drawing/2014/main" id="{E44A925E-96C0-4F71-A883-313D6660EB7D}"/>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B85891A7-5E1E-4801-9339-795682FE7E8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07B3ED06-3EDD-478F-ACA9-DE46C9C3AD9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hidden="1">
              <a:extLst>
                <a:ext uri="{FF2B5EF4-FFF2-40B4-BE49-F238E27FC236}">
                  <a16:creationId xmlns:a16="http://schemas.microsoft.com/office/drawing/2014/main" id="{25AEFF97-594E-4024-888A-D61E06C1F5F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hidden="1">
              <a:extLst>
                <a:ext uri="{FF2B5EF4-FFF2-40B4-BE49-F238E27FC236}">
                  <a16:creationId xmlns:a16="http://schemas.microsoft.com/office/drawing/2014/main" id="{FCAEA3AA-9C63-4290-A6AE-42DD612765C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726938C9-655C-486E-831B-4130E842F364}"/>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083B1432-5E5E-4B24-BBA3-2471010E6AB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hidden="1">
              <a:extLst>
                <a:ext uri="{FF2B5EF4-FFF2-40B4-BE49-F238E27FC236}">
                  <a16:creationId xmlns:a16="http://schemas.microsoft.com/office/drawing/2014/main" id="{6151E954-399D-47D3-8515-2CB5792AAF05}"/>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hidden="1">
              <a:extLst>
                <a:ext uri="{FF2B5EF4-FFF2-40B4-BE49-F238E27FC236}">
                  <a16:creationId xmlns:a16="http://schemas.microsoft.com/office/drawing/2014/main" id="{B1CE1405-788D-4C9C-B140-9182159C1FA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hidden="1">
              <a:extLst>
                <a:ext uri="{FF2B5EF4-FFF2-40B4-BE49-F238E27FC236}">
                  <a16:creationId xmlns:a16="http://schemas.microsoft.com/office/drawing/2014/main" id="{16FD492F-6385-407E-86E5-05CE30F53E7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hidden="1">
              <a:extLst>
                <a:ext uri="{FF2B5EF4-FFF2-40B4-BE49-F238E27FC236}">
                  <a16:creationId xmlns:a16="http://schemas.microsoft.com/office/drawing/2014/main" id="{A3ED9B5B-8D71-45F7-B39B-E809FD43BFC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hidden="1">
              <a:extLst>
                <a:ext uri="{FF2B5EF4-FFF2-40B4-BE49-F238E27FC236}">
                  <a16:creationId xmlns:a16="http://schemas.microsoft.com/office/drawing/2014/main" id="{B04910D4-9BB9-43A0-A4F3-4C4BDE051137}"/>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83346077-B012-4AB5-9F8F-7F5D2EB1BF01}"/>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hidden="1">
                <a:extLst>
                  <a:ext uri="{FF2B5EF4-FFF2-40B4-BE49-F238E27FC236}">
                    <a16:creationId xmlns:a16="http://schemas.microsoft.com/office/drawing/2014/main" id="{95D6D2B4-C3F0-4CF8-92F2-689AB2EF63FC}"/>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DE30A8EB-96AA-4D89-95E3-02125C8BF10D}"/>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E9DBF3BA-4889-412D-8E78-5257863D6C1E}"/>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hidden="1">
                <a:extLst>
                  <a:ext uri="{FF2B5EF4-FFF2-40B4-BE49-F238E27FC236}">
                    <a16:creationId xmlns:a16="http://schemas.microsoft.com/office/drawing/2014/main" id="{564F4FA7-0148-4CF8-9526-FE1B3804B4B9}"/>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786C13DE-BCE8-46DA-8062-329AEDCBA1A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DD5A01BB-CCDB-4C1E-BED8-7CFF43E160F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hidden="1">
                <a:extLst>
                  <a:ext uri="{FF2B5EF4-FFF2-40B4-BE49-F238E27FC236}">
                    <a16:creationId xmlns:a16="http://schemas.microsoft.com/office/drawing/2014/main" id="{340867BC-5932-45C2-81D8-AFA8C15F8C4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B1777C78-8FA0-4255-8FC5-17BCA6EAB129}"/>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69C0F2BA-079B-4460-9017-F377D5BB5D7B}"/>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hidden="1">
                <a:extLst>
                  <a:ext uri="{FF2B5EF4-FFF2-40B4-BE49-F238E27FC236}">
                    <a16:creationId xmlns:a16="http://schemas.microsoft.com/office/drawing/2014/main" id="{EA5D0632-0AFC-4E4F-A182-F7360BE0451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57EE480D-DBA8-4D30-85C7-26F271650FE8}"/>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06F8348C-4120-4BB6-B892-F6EF3306B4CA}"/>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hidden="1">
                <a:extLst>
                  <a:ext uri="{FF2B5EF4-FFF2-40B4-BE49-F238E27FC236}">
                    <a16:creationId xmlns:a16="http://schemas.microsoft.com/office/drawing/2014/main" id="{D401E4A0-9512-4F9E-8DC2-B810A068EF6D}"/>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51D346A6-3306-4A7E-98F7-D43B0D4C3D07}"/>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CE9AA8FE-CA3A-411F-A1F6-EB2A44482C9F}"/>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142BDBE4-5309-4E4E-AC5D-7FB55F446E6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0B3D2BE7-7FBC-4F7B-B039-48CA25994CE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B6EFD21B-E71A-4602-85F3-AF0C86134AD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21A262DD-E725-47B5-AB74-63C98392D9EF}"/>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A7D76D51-2696-4986-9A1F-BEB44EC7E0C5}"/>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hidden="1">
              <a:extLst>
                <a:ext uri="{FF2B5EF4-FFF2-40B4-BE49-F238E27FC236}">
                  <a16:creationId xmlns:a16="http://schemas.microsoft.com/office/drawing/2014/main" id="{25D2984D-4324-4B47-99A3-1D6A4F6471F3}"/>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hidden="1">
              <a:extLst>
                <a:ext uri="{FF2B5EF4-FFF2-40B4-BE49-F238E27FC236}">
                  <a16:creationId xmlns:a16="http://schemas.microsoft.com/office/drawing/2014/main" id="{88C29D57-BD34-4D1B-8266-1320F11E831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hidden="1">
              <a:extLst>
                <a:ext uri="{FF2B5EF4-FFF2-40B4-BE49-F238E27FC236}">
                  <a16:creationId xmlns:a16="http://schemas.microsoft.com/office/drawing/2014/main" id="{52C0D710-8D27-4F6E-AFC6-4B662FD1CE59}"/>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hidden="1">
              <a:extLst>
                <a:ext uri="{FF2B5EF4-FFF2-40B4-BE49-F238E27FC236}">
                  <a16:creationId xmlns:a16="http://schemas.microsoft.com/office/drawing/2014/main" id="{0641FB6C-A43B-4B18-8842-C4CF3FBA7140}"/>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sp>
        <p:nvSpPr>
          <p:cNvPr id="148" name="Oval 147">
            <a:extLst>
              <a:ext uri="{FF2B5EF4-FFF2-40B4-BE49-F238E27FC236}">
                <a16:creationId xmlns:a16="http://schemas.microsoft.com/office/drawing/2014/main" id="{799877C9-63ED-40E9-89FB-6CC9BB3B26C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a:latin typeface="Georgia" panose="02040502050405020303" pitchFamily="18" charset="0"/>
              <a:sym typeface="Georgia" panose="02040502050405020303" pitchFamily="18" charset="0"/>
            </a:endParaRPr>
          </a:p>
        </p:txBody>
      </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883" r:id="rId2"/>
    <p:sldLayoutId id="2147483654" r:id="rId3"/>
    <p:sldLayoutId id="2147483807" r:id="rId4"/>
    <p:sldLayoutId id="2147483800" r:id="rId5"/>
    <p:sldLayoutId id="2147483659" r:id="rId6"/>
    <p:sldLayoutId id="2147483804" r:id="rId7"/>
    <p:sldLayoutId id="2147483860" r:id="rId8"/>
    <p:sldLayoutId id="2147483856" r:id="rId9"/>
    <p:sldLayoutId id="2147483805" r:id="rId10"/>
    <p:sldLayoutId id="2147483806" r:id="rId11"/>
    <p:sldLayoutId id="2147483882" r:id="rId12"/>
    <p:sldLayoutId id="2147483879" r:id="rId13"/>
    <p:sldLayoutId id="2147483706" r:id="rId14"/>
    <p:sldLayoutId id="2147483718" r:id="rId15"/>
    <p:sldLayoutId id="2147483888" r:id="rId16"/>
    <p:sldLayoutId id="2147483889"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1"/>
            </p:custDataLst>
            <p:extLst>
              <p:ext uri="{D42A27DB-BD31-4B8C-83A1-F6EECF244321}">
                <p14:modId xmlns:p14="http://schemas.microsoft.com/office/powerpoint/2010/main" val="2117561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6101" name="think-cell Slide" r:id="rId42" imgW="592" imgH="591" progId="TCLayout.ActiveDocument.1">
                  <p:embed/>
                </p:oleObj>
              </mc:Choice>
              <mc:Fallback>
                <p:oleObj name="think-cell Slide" r:id="rId42" imgW="592" imgH="591" progId="TCLayout.ActiveDocument.1">
                  <p:embed/>
                  <p:pic>
                    <p:nvPicPr>
                      <p:cNvPr id="0" name=""/>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68" name="Oval 167">
            <a:extLst>
              <a:ext uri="{FF2B5EF4-FFF2-40B4-BE49-F238E27FC236}">
                <a16:creationId xmlns:a16="http://schemas.microsoft.com/office/drawing/2014/main" id="{F23FB4EB-9D79-4D5E-BB1D-0A3A2DC81B52}"/>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a:latin typeface="Georgia" panose="02040502050405020303" pitchFamily="18" charset="0"/>
              <a:sym typeface="Georgia" panose="02040502050405020303" pitchFamily="18"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3"/>
            </p:custDataLst>
          </p:nvPr>
        </p:nvSpPr>
        <p:spPr>
          <a:xfrm>
            <a:off x="554736" y="172212"/>
            <a:ext cx="11082528" cy="369332"/>
          </a:xfrm>
          <a:prstGeom prst="rect">
            <a:avLst/>
          </a:prstGeom>
        </p:spPr>
        <p:txBody>
          <a:bodyPr vert="horz" wrap="square" lIns="0" tIns="0" rIns="0" bIns="0" rtlCol="0" anchor="t" anchorCtr="0">
            <a:noAutofit/>
          </a:bodyPr>
          <a:lstStyle/>
          <a:p>
            <a:pPr lvl="0"/>
            <a:r>
              <a:rPr lang="en-US" dirty="0"/>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4"/>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5"/>
            </p:custDataLst>
          </p:nvPr>
        </p:nvSpPr>
        <p:spPr>
          <a:xfrm>
            <a:off x="554736"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91983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6"/>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747264" cy="13843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6" name="LegendBoxes" hidden="1">
            <a:extLst>
              <a:ext uri="{FF2B5EF4-FFF2-40B4-BE49-F238E27FC236}">
                <a16:creationId xmlns:a16="http://schemas.microsoft.com/office/drawing/2014/main" id="{5A68890D-B32C-43CB-AEA6-6A1334FFFE84}"/>
              </a:ext>
            </a:extLst>
          </p:cNvPr>
          <p:cNvGrpSpPr/>
          <p:nvPr userDrawn="1"/>
        </p:nvGrpSpPr>
        <p:grpSpPr>
          <a:xfrm>
            <a:off x="10714801" y="4381500"/>
            <a:ext cx="922463" cy="1717282"/>
            <a:chOff x="10554770" y="4322824"/>
            <a:chExt cx="922463" cy="1717282"/>
          </a:xfrm>
        </p:grpSpPr>
        <p:sp>
          <p:nvSpPr>
            <p:cNvPr id="147" name="RectangleLegend1" hidden="1">
              <a:extLst>
                <a:ext uri="{FF2B5EF4-FFF2-40B4-BE49-F238E27FC236}">
                  <a16:creationId xmlns:a16="http://schemas.microsoft.com/office/drawing/2014/main" id="{680871CC-FDC5-4244-86F4-51621513A797}"/>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48" name="RectangleLegend2" hidden="1">
              <a:extLst>
                <a:ext uri="{FF2B5EF4-FFF2-40B4-BE49-F238E27FC236}">
                  <a16:creationId xmlns:a16="http://schemas.microsoft.com/office/drawing/2014/main" id="{A474F245-5833-4657-82CF-1B54CD2564BB}"/>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49" name="RectangleLegend3" hidden="1">
              <a:extLst>
                <a:ext uri="{FF2B5EF4-FFF2-40B4-BE49-F238E27FC236}">
                  <a16:creationId xmlns:a16="http://schemas.microsoft.com/office/drawing/2014/main" id="{9BF4A49A-507A-46CA-9364-7E0376E0BBDF}"/>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50" name="RectangleLegend4" hidden="1">
              <a:extLst>
                <a:ext uri="{FF2B5EF4-FFF2-40B4-BE49-F238E27FC236}">
                  <a16:creationId xmlns:a16="http://schemas.microsoft.com/office/drawing/2014/main" id="{FC0D7385-FF73-4C7B-BF43-5D7DA222EC60}"/>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51" name="RectangleLegend5" hidden="1">
              <a:extLst>
                <a:ext uri="{FF2B5EF4-FFF2-40B4-BE49-F238E27FC236}">
                  <a16:creationId xmlns:a16="http://schemas.microsoft.com/office/drawing/2014/main" id="{CC27085E-6964-4799-BC87-415EDC916D03}"/>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52" name="Legend1" hidden="1">
              <a:extLst>
                <a:ext uri="{FF2B5EF4-FFF2-40B4-BE49-F238E27FC236}">
                  <a16:creationId xmlns:a16="http://schemas.microsoft.com/office/drawing/2014/main" id="{29B686F1-5E73-40BC-BF77-D59F5435860B}"/>
                </a:ext>
              </a:extLst>
            </p:cNvPr>
            <p:cNvSpPr txBox="1"/>
            <p:nvPr/>
          </p:nvSpPr>
          <p:spPr>
            <a:xfrm>
              <a:off x="1088091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53" name="Legend2" hidden="1">
              <a:extLst>
                <a:ext uri="{FF2B5EF4-FFF2-40B4-BE49-F238E27FC236}">
                  <a16:creationId xmlns:a16="http://schemas.microsoft.com/office/drawing/2014/main" id="{0B520603-C143-413E-8EC3-1E76A36BD636}"/>
                </a:ext>
              </a:extLst>
            </p:cNvPr>
            <p:cNvSpPr txBox="1"/>
            <p:nvPr/>
          </p:nvSpPr>
          <p:spPr>
            <a:xfrm>
              <a:off x="1088091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dirty="0"/>
                <a:t>Legend</a:t>
              </a:r>
            </a:p>
          </p:txBody>
        </p:sp>
        <p:sp>
          <p:nvSpPr>
            <p:cNvPr id="154" name="Legend3" hidden="1">
              <a:extLst>
                <a:ext uri="{FF2B5EF4-FFF2-40B4-BE49-F238E27FC236}">
                  <a16:creationId xmlns:a16="http://schemas.microsoft.com/office/drawing/2014/main" id="{1BE05781-1555-444F-AE0C-08D932C14AE0}"/>
                </a:ext>
              </a:extLst>
            </p:cNvPr>
            <p:cNvSpPr txBox="1"/>
            <p:nvPr/>
          </p:nvSpPr>
          <p:spPr>
            <a:xfrm>
              <a:off x="1088091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55" name="Legend4" hidden="1">
              <a:extLst>
                <a:ext uri="{FF2B5EF4-FFF2-40B4-BE49-F238E27FC236}">
                  <a16:creationId xmlns:a16="http://schemas.microsoft.com/office/drawing/2014/main" id="{4BC537D3-D392-475E-B755-6588A856A2BF}"/>
                </a:ext>
              </a:extLst>
            </p:cNvPr>
            <p:cNvSpPr txBox="1"/>
            <p:nvPr/>
          </p:nvSpPr>
          <p:spPr>
            <a:xfrm>
              <a:off x="1088091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56" name="Legend5" hidden="1">
              <a:extLst>
                <a:ext uri="{FF2B5EF4-FFF2-40B4-BE49-F238E27FC236}">
                  <a16:creationId xmlns:a16="http://schemas.microsoft.com/office/drawing/2014/main" id="{78CAB21E-B857-4C75-B1D5-E6536BB4145B}"/>
                </a:ext>
              </a:extLst>
            </p:cNvPr>
            <p:cNvSpPr txBox="1"/>
            <p:nvPr/>
          </p:nvSpPr>
          <p:spPr>
            <a:xfrm>
              <a:off x="1088091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grpSp>
      <p:grpSp>
        <p:nvGrpSpPr>
          <p:cNvPr id="157" name="LegendLines" hidden="1">
            <a:extLst>
              <a:ext uri="{FF2B5EF4-FFF2-40B4-BE49-F238E27FC236}">
                <a16:creationId xmlns:a16="http://schemas.microsoft.com/office/drawing/2014/main" id="{E40D3B23-E52A-406E-8539-94F11936194D}"/>
              </a:ext>
            </a:extLst>
          </p:cNvPr>
          <p:cNvGrpSpPr/>
          <p:nvPr userDrawn="1"/>
        </p:nvGrpSpPr>
        <p:grpSpPr>
          <a:xfrm>
            <a:off x="10317304" y="3150831"/>
            <a:ext cx="1319960" cy="958286"/>
            <a:chOff x="10162879" y="3243772"/>
            <a:chExt cx="1319960" cy="958286"/>
          </a:xfrm>
        </p:grpSpPr>
        <p:sp>
          <p:nvSpPr>
            <p:cNvPr id="158" name="Legend1" hidden="1">
              <a:extLst>
                <a:ext uri="{FF2B5EF4-FFF2-40B4-BE49-F238E27FC236}">
                  <a16:creationId xmlns:a16="http://schemas.microsoft.com/office/drawing/2014/main" id="{03E255AE-1712-46CC-A762-45B0A0C900FE}"/>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59" name="Legend2" hidden="1">
              <a:extLst>
                <a:ext uri="{FF2B5EF4-FFF2-40B4-BE49-F238E27FC236}">
                  <a16:creationId xmlns:a16="http://schemas.microsoft.com/office/drawing/2014/main" id="{A826527A-1E09-4911-B9CD-55DEB9E1A720}"/>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60" name="Legend3" hidden="1">
              <a:extLst>
                <a:ext uri="{FF2B5EF4-FFF2-40B4-BE49-F238E27FC236}">
                  <a16:creationId xmlns:a16="http://schemas.microsoft.com/office/drawing/2014/main" id="{8F62542C-5E11-41B1-957C-4122A5B8E03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61" name="LineLegend3" hidden="1">
              <a:extLst>
                <a:ext uri="{FF2B5EF4-FFF2-40B4-BE49-F238E27FC236}">
                  <a16:creationId xmlns:a16="http://schemas.microsoft.com/office/drawing/2014/main" id="{83B9F209-ADC1-41E6-AF2C-EDB26B49FE8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dirty="0">
                <a:latin typeface="+mn-lt"/>
                <a:ea typeface="+mn-ea"/>
              </a:endParaRPr>
            </a:p>
          </p:txBody>
        </p:sp>
        <p:sp>
          <p:nvSpPr>
            <p:cNvPr id="162" name="LineLegend2" hidden="1">
              <a:extLst>
                <a:ext uri="{FF2B5EF4-FFF2-40B4-BE49-F238E27FC236}">
                  <a16:creationId xmlns:a16="http://schemas.microsoft.com/office/drawing/2014/main" id="{A6CF4DF7-C643-4404-B072-184EAA0FB6E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dirty="0">
                <a:latin typeface="+mn-lt"/>
                <a:ea typeface="+mn-ea"/>
              </a:endParaRPr>
            </a:p>
          </p:txBody>
        </p:sp>
        <p:sp>
          <p:nvSpPr>
            <p:cNvPr id="163" name="LineLegend1" hidden="1">
              <a:extLst>
                <a:ext uri="{FF2B5EF4-FFF2-40B4-BE49-F238E27FC236}">
                  <a16:creationId xmlns:a16="http://schemas.microsoft.com/office/drawing/2014/main" id="{D3503C17-36D9-4917-B71C-2B7B77481ED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dirty="0">
                <a:latin typeface="+mn-lt"/>
                <a:ea typeface="+mn-ea"/>
              </a:endParaRPr>
            </a:p>
          </p:txBody>
        </p:sp>
      </p:grpSp>
      <p:grpSp>
        <p:nvGrpSpPr>
          <p:cNvPr id="164" name="LegendMoons" hidden="1">
            <a:extLst>
              <a:ext uri="{FF2B5EF4-FFF2-40B4-BE49-F238E27FC236}">
                <a16:creationId xmlns:a16="http://schemas.microsoft.com/office/drawing/2014/main" id="{691A597A-D3CD-4357-8E61-5323B6BF03F0}"/>
              </a:ext>
            </a:extLst>
          </p:cNvPr>
          <p:cNvGrpSpPr/>
          <p:nvPr userDrawn="1"/>
        </p:nvGrpSpPr>
        <p:grpSpPr>
          <a:xfrm>
            <a:off x="10684859" y="1146588"/>
            <a:ext cx="948949" cy="1731859"/>
            <a:chOff x="7716535" y="2630582"/>
            <a:chExt cx="948949" cy="1731859"/>
          </a:xfrm>
        </p:grpSpPr>
        <p:sp>
          <p:nvSpPr>
            <p:cNvPr id="165" name="Legend1" hidden="1">
              <a:extLst>
                <a:ext uri="{FF2B5EF4-FFF2-40B4-BE49-F238E27FC236}">
                  <a16:creationId xmlns:a16="http://schemas.microsoft.com/office/drawing/2014/main" id="{0F683AC8-EA3E-4FEA-83F0-765565006057}"/>
                </a:ext>
              </a:extLst>
            </p:cNvPr>
            <p:cNvSpPr txBox="1"/>
            <p:nvPr/>
          </p:nvSpPr>
          <p:spPr>
            <a:xfrm>
              <a:off x="8069167" y="26379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66" name="Legend2" hidden="1">
              <a:extLst>
                <a:ext uri="{FF2B5EF4-FFF2-40B4-BE49-F238E27FC236}">
                  <a16:creationId xmlns:a16="http://schemas.microsoft.com/office/drawing/2014/main" id="{A081CA1C-6672-42DE-B36C-57991C62613E}"/>
                </a:ext>
              </a:extLst>
            </p:cNvPr>
            <p:cNvSpPr txBox="1"/>
            <p:nvPr/>
          </p:nvSpPr>
          <p:spPr>
            <a:xfrm>
              <a:off x="8069167" y="301340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67" name="Legend3" hidden="1">
              <a:extLst>
                <a:ext uri="{FF2B5EF4-FFF2-40B4-BE49-F238E27FC236}">
                  <a16:creationId xmlns:a16="http://schemas.microsoft.com/office/drawing/2014/main" id="{DBAB5477-DBD5-40A0-AF36-D0B105C56C8C}"/>
                </a:ext>
              </a:extLst>
            </p:cNvPr>
            <p:cNvSpPr txBox="1"/>
            <p:nvPr/>
          </p:nvSpPr>
          <p:spPr>
            <a:xfrm>
              <a:off x="8069167" y="3388859"/>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208" name="Legend4" hidden="1">
              <a:extLst>
                <a:ext uri="{FF2B5EF4-FFF2-40B4-BE49-F238E27FC236}">
                  <a16:creationId xmlns:a16="http://schemas.microsoft.com/office/drawing/2014/main" id="{794ABEC6-935E-479D-A8DD-AD19A4AD9F86}"/>
                </a:ext>
              </a:extLst>
            </p:cNvPr>
            <p:cNvSpPr txBox="1"/>
            <p:nvPr/>
          </p:nvSpPr>
          <p:spPr>
            <a:xfrm>
              <a:off x="8069167" y="3764318"/>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209" name="Legend5" hidden="1">
              <a:extLst>
                <a:ext uri="{FF2B5EF4-FFF2-40B4-BE49-F238E27FC236}">
                  <a16:creationId xmlns:a16="http://schemas.microsoft.com/office/drawing/2014/main" id="{EB7F3380-B155-4E7A-B031-F4399A4DD8DA}"/>
                </a:ext>
              </a:extLst>
            </p:cNvPr>
            <p:cNvSpPr txBox="1"/>
            <p:nvPr/>
          </p:nvSpPr>
          <p:spPr>
            <a:xfrm>
              <a:off x="8069167" y="4139779"/>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grpSp>
          <p:nvGrpSpPr>
            <p:cNvPr id="210" name="MoonLegend1" hidden="1">
              <a:extLst>
                <a:ext uri="{FF2B5EF4-FFF2-40B4-BE49-F238E27FC236}">
                  <a16:creationId xmlns:a16="http://schemas.microsoft.com/office/drawing/2014/main" id="{20042068-1A20-4FB1-929B-7C48BB23CDEB}"/>
                </a:ext>
              </a:extLst>
            </p:cNvPr>
            <p:cNvGrpSpPr>
              <a:grpSpLocks noChangeAspect="1"/>
            </p:cNvGrpSpPr>
            <p:nvPr>
              <p:custDataLst>
                <p:tags r:id="rId27"/>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9BD11F36-E53F-426D-A428-ACF344B9768A}"/>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err="1">
                  <a:solidFill>
                    <a:schemeClr val="tx1"/>
                  </a:solidFill>
                </a:endParaRPr>
              </a:p>
            </p:txBody>
          </p:sp>
          <p:sp>
            <p:nvSpPr>
              <p:cNvPr id="224" name="Arc 223" hidden="1">
                <a:extLst>
                  <a:ext uri="{FF2B5EF4-FFF2-40B4-BE49-F238E27FC236}">
                    <a16:creationId xmlns:a16="http://schemas.microsoft.com/office/drawing/2014/main" id="{20BAF30B-4F49-4B4C-93ED-A22C873CD0A7}"/>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11" name="MoonLegend2" hidden="1">
              <a:extLst>
                <a:ext uri="{FF2B5EF4-FFF2-40B4-BE49-F238E27FC236}">
                  <a16:creationId xmlns:a16="http://schemas.microsoft.com/office/drawing/2014/main" id="{78341A57-ED1F-490E-B142-B2C763D2D9E4}"/>
                </a:ext>
              </a:extLst>
            </p:cNvPr>
            <p:cNvGrpSpPr>
              <a:grpSpLocks noChangeAspect="1"/>
            </p:cNvGrpSpPr>
            <p:nvPr>
              <p:custDataLst>
                <p:tags r:id="rId28"/>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188F9C32-1BE2-4ADF-9E35-28A6FEA80359}"/>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err="1">
                  <a:solidFill>
                    <a:schemeClr val="tx1"/>
                  </a:solidFill>
                </a:endParaRPr>
              </a:p>
            </p:txBody>
          </p:sp>
          <p:sp>
            <p:nvSpPr>
              <p:cNvPr id="222" name="Arc 221" hidden="1">
                <a:extLst>
                  <a:ext uri="{FF2B5EF4-FFF2-40B4-BE49-F238E27FC236}">
                    <a16:creationId xmlns:a16="http://schemas.microsoft.com/office/drawing/2014/main" id="{700D3B26-82C5-4EF0-A6FC-361918738FE4}"/>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12" name="MoonLegend3" hidden="1">
              <a:extLst>
                <a:ext uri="{FF2B5EF4-FFF2-40B4-BE49-F238E27FC236}">
                  <a16:creationId xmlns:a16="http://schemas.microsoft.com/office/drawing/2014/main" id="{889BB8CD-9F66-41ED-854A-A0534CA65928}"/>
                </a:ext>
              </a:extLst>
            </p:cNvPr>
            <p:cNvGrpSpPr>
              <a:grpSpLocks noChangeAspect="1"/>
            </p:cNvGrpSpPr>
            <p:nvPr>
              <p:custDataLst>
                <p:tags r:id="rId29"/>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E1FD1803-CA22-4056-85F8-135E72743E9C}"/>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err="1">
                  <a:solidFill>
                    <a:schemeClr val="tx1"/>
                  </a:solidFill>
                </a:endParaRPr>
              </a:p>
            </p:txBody>
          </p:sp>
          <p:sp>
            <p:nvSpPr>
              <p:cNvPr id="220" name="Arc 219" hidden="1">
                <a:extLst>
                  <a:ext uri="{FF2B5EF4-FFF2-40B4-BE49-F238E27FC236}">
                    <a16:creationId xmlns:a16="http://schemas.microsoft.com/office/drawing/2014/main" id="{D7600B79-405E-4D04-8CE3-558CF466D150}"/>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13" name="MoonLegend4" hidden="1">
              <a:extLst>
                <a:ext uri="{FF2B5EF4-FFF2-40B4-BE49-F238E27FC236}">
                  <a16:creationId xmlns:a16="http://schemas.microsoft.com/office/drawing/2014/main" id="{DA3438F0-380B-467B-9518-F958928DB373}"/>
                </a:ext>
              </a:extLst>
            </p:cNvPr>
            <p:cNvGrpSpPr>
              <a:grpSpLocks noChangeAspect="1"/>
            </p:cNvGrpSpPr>
            <p:nvPr>
              <p:custDataLst>
                <p:tags r:id="rId30"/>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B672AEF0-A544-4647-B9B5-62F2B6B559C4}"/>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err="1">
                  <a:solidFill>
                    <a:schemeClr val="tx1"/>
                  </a:solidFill>
                </a:endParaRPr>
              </a:p>
            </p:txBody>
          </p:sp>
          <p:sp>
            <p:nvSpPr>
              <p:cNvPr id="218" name="Arc 217" hidden="1">
                <a:extLst>
                  <a:ext uri="{FF2B5EF4-FFF2-40B4-BE49-F238E27FC236}">
                    <a16:creationId xmlns:a16="http://schemas.microsoft.com/office/drawing/2014/main" id="{6E26F6E1-8510-4D84-9AC7-03969C660C9C}"/>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14" name="MoonLegend5" hidden="1">
              <a:extLst>
                <a:ext uri="{FF2B5EF4-FFF2-40B4-BE49-F238E27FC236}">
                  <a16:creationId xmlns:a16="http://schemas.microsoft.com/office/drawing/2014/main" id="{F8784DED-5D41-46FF-80F2-B7DF376229AA}"/>
                </a:ext>
              </a:extLst>
            </p:cNvPr>
            <p:cNvGrpSpPr>
              <a:grpSpLocks noChangeAspect="1"/>
            </p:cNvGrpSpPr>
            <p:nvPr>
              <p:custDataLst>
                <p:tags r:id="rId31"/>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0F09B7AC-7FB6-4ADD-98C2-A1A5E9390658}"/>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err="1">
                  <a:solidFill>
                    <a:schemeClr val="tx1"/>
                  </a:solidFill>
                </a:endParaRPr>
              </a:p>
            </p:txBody>
          </p:sp>
          <p:sp>
            <p:nvSpPr>
              <p:cNvPr id="216" name="Arc 215" hidden="1">
                <a:extLst>
                  <a:ext uri="{FF2B5EF4-FFF2-40B4-BE49-F238E27FC236}">
                    <a16:creationId xmlns:a16="http://schemas.microsoft.com/office/drawing/2014/main" id="{96196B63-1BDD-43B5-98B2-D783099C14E7}"/>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84" r:id="rId2"/>
    <p:sldLayoutId id="2147483866" r:id="rId3"/>
    <p:sldLayoutId id="2147483867" r:id="rId4"/>
    <p:sldLayoutId id="2147483868" r:id="rId5"/>
    <p:sldLayoutId id="2147483870" r:id="rId6"/>
    <p:sldLayoutId id="2147483871" r:id="rId7"/>
    <p:sldLayoutId id="2147483872" r:id="rId8"/>
    <p:sldLayoutId id="2147483873" r:id="rId9"/>
    <p:sldLayoutId id="2147483874" r:id="rId10"/>
    <p:sldLayoutId id="2147483875" r:id="rId11"/>
    <p:sldLayoutId id="2147483881" r:id="rId12"/>
    <p:sldLayoutId id="2147483880" r:id="rId13"/>
    <p:sldLayoutId id="2147483877" r:id="rId14"/>
    <p:sldLayoutId id="2147483878" r:id="rId15"/>
    <p:sldLayoutId id="2147483885" r:id="rId16"/>
    <p:sldLayoutId id="2147483886" r:id="rId17"/>
    <p:sldLayoutId id="2147483887"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D0F8D50-DD1D-A647-BA13-E489730E2D02}"/>
              </a:ext>
            </a:extLst>
          </p:cNvPr>
          <p:cNvGraphicFramePr>
            <a:graphicFrameLocks noChangeAspect="1"/>
          </p:cNvGraphicFramePr>
          <p:nvPr userDrawn="1">
            <p:custDataLst>
              <p:tags r:id="rId2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2594" name="think-cell Slide" r:id="rId22" imgW="7772400" imgH="10058400" progId="TCLayout.ActiveDocument.1">
                  <p:embed/>
                </p:oleObj>
              </mc:Choice>
              <mc:Fallback>
                <p:oleObj name="think-cell Slide" r:id="rId22" imgW="7772400" imgH="10058400" progId="TCLayout.ActiveDocument.1">
                  <p:embed/>
                  <p:pic>
                    <p:nvPicPr>
                      <p:cNvPr id="7" name="Object 6" hidden="1">
                        <a:extLst>
                          <a:ext uri="{FF2B5EF4-FFF2-40B4-BE49-F238E27FC236}">
                            <a16:creationId xmlns:a16="http://schemas.microsoft.com/office/drawing/2014/main" id="{CD0F8D50-DD1D-A647-BA13-E489730E2D02}"/>
                          </a:ext>
                        </a:extLst>
                      </p:cNvPr>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bwMode="gray">
          <a:xfrm>
            <a:off x="672000" y="1424243"/>
            <a:ext cx="1296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2" name="Espace réservé du titre 1"/>
          <p:cNvSpPr>
            <a:spLocks noGrp="1"/>
          </p:cNvSpPr>
          <p:nvPr>
            <p:ph type="title"/>
          </p:nvPr>
        </p:nvSpPr>
        <p:spPr bwMode="gray">
          <a:xfrm>
            <a:off x="672000" y="217251"/>
            <a:ext cx="10848000" cy="1036637"/>
          </a:xfrm>
          <a:prstGeom prst="rect">
            <a:avLst/>
          </a:prstGeom>
        </p:spPr>
        <p:txBody>
          <a:bodyPr vert="horz" lIns="0" tIns="0" rIns="0" bIns="0" rtlCol="0" anchor="b" anchorCtr="0">
            <a:noAutofit/>
          </a:bodyPr>
          <a:lstStyle/>
          <a:p>
            <a:r>
              <a:rPr lang="en-GB" noProof="0"/>
              <a:t>TITLE</a:t>
            </a:r>
          </a:p>
        </p:txBody>
      </p:sp>
      <p:sp>
        <p:nvSpPr>
          <p:cNvPr id="3" name="Espace réservé du texte 2"/>
          <p:cNvSpPr>
            <a:spLocks noGrp="1"/>
          </p:cNvSpPr>
          <p:nvPr>
            <p:ph type="body" idx="1"/>
          </p:nvPr>
        </p:nvSpPr>
        <p:spPr bwMode="gray">
          <a:xfrm>
            <a:off x="672000" y="1604675"/>
            <a:ext cx="10848000" cy="4192480"/>
          </a:xfrm>
          <a:prstGeom prst="rect">
            <a:avLst/>
          </a:prstGeom>
        </p:spPr>
        <p:txBody>
          <a:bodyPr vert="horz" lIns="0" tIns="0" rIns="0" bIns="0" rtlCol="0" anchor="t" anchorCtr="0">
            <a:noAutofit/>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4" name="Espace réservé de la date 3"/>
          <p:cNvSpPr>
            <a:spLocks noGrp="1"/>
          </p:cNvSpPr>
          <p:nvPr>
            <p:ph type="dt" sz="half" idx="2"/>
          </p:nvPr>
        </p:nvSpPr>
        <p:spPr bwMode="gray">
          <a:xfrm>
            <a:off x="-1" y="6498000"/>
            <a:ext cx="1246719" cy="360000"/>
          </a:xfrm>
          <a:prstGeom prst="rect">
            <a:avLst/>
          </a:prstGeom>
        </p:spPr>
        <p:txBody>
          <a:bodyPr vert="horz" lIns="0" tIns="0" rIns="0" bIns="0" rtlCol="0" anchor="t" anchorCtr="0">
            <a:noAutofit/>
          </a:bodyPr>
          <a:lstStyle>
            <a:lvl1pPr algn="l">
              <a:defRPr sz="133">
                <a:solidFill>
                  <a:schemeClr val="bg1">
                    <a:alpha val="0"/>
                  </a:schemeClr>
                </a:solidFill>
              </a:defRPr>
            </a:lvl1pPr>
          </a:lstStyle>
          <a:p>
            <a:r>
              <a:rPr lang="en-GB" noProof="0"/>
              <a:t>Date</a:t>
            </a:r>
          </a:p>
        </p:txBody>
      </p:sp>
      <p:sp>
        <p:nvSpPr>
          <p:cNvPr id="5" name="Espace réservé du pied de page 4"/>
          <p:cNvSpPr>
            <a:spLocks noGrp="1"/>
          </p:cNvSpPr>
          <p:nvPr>
            <p:ph type="ftr" sz="quarter" idx="3"/>
          </p:nvPr>
        </p:nvSpPr>
        <p:spPr bwMode="gray">
          <a:xfrm>
            <a:off x="3216000" y="6327933"/>
            <a:ext cx="5760000" cy="530067"/>
          </a:xfrm>
          <a:prstGeom prst="rect">
            <a:avLst/>
          </a:prstGeom>
        </p:spPr>
        <p:txBody>
          <a:bodyPr vert="horz" lIns="0" tIns="7200" rIns="0" bIns="0" rtlCol="0" anchor="t" anchorCtr="0">
            <a:noAutofit/>
          </a:bodyPr>
          <a:lstStyle>
            <a:lvl1pPr algn="ctr">
              <a:defRPr sz="1333" b="1">
                <a:solidFill>
                  <a:schemeClr val="accent1"/>
                </a:solidFill>
              </a:defRPr>
            </a:lvl1pPr>
          </a:lstStyle>
          <a:p>
            <a:r>
              <a:rPr lang="en-GB" noProof="0"/>
              <a:t>#add your hashtag</a:t>
            </a:r>
          </a:p>
        </p:txBody>
      </p:sp>
      <p:sp>
        <p:nvSpPr>
          <p:cNvPr id="6" name="Espace réservé du numéro de diapositive 5"/>
          <p:cNvSpPr>
            <a:spLocks noGrp="1"/>
          </p:cNvSpPr>
          <p:nvPr>
            <p:ph type="sldNum" sz="quarter" idx="4"/>
          </p:nvPr>
        </p:nvSpPr>
        <p:spPr bwMode="gray">
          <a:xfrm>
            <a:off x="672000" y="6327933"/>
            <a:ext cx="1200149" cy="530067"/>
          </a:xfrm>
          <a:prstGeom prst="rect">
            <a:avLst/>
          </a:prstGeom>
        </p:spPr>
        <p:txBody>
          <a:bodyPr vert="horz" lIns="0" tIns="21600" rIns="0" bIns="0" rtlCol="0" anchor="t" anchorCtr="0">
            <a:noAutofit/>
          </a:bodyPr>
          <a:lstStyle>
            <a:lvl1pPr algn="l">
              <a:defRPr sz="1200" b="1">
                <a:solidFill>
                  <a:schemeClr val="tx1"/>
                </a:solidFill>
              </a:defRPr>
            </a:lvl1pPr>
          </a:lstStyle>
          <a:p>
            <a:fld id="{733122C9-A0B9-462F-8757-0847AD287B63}" type="slidenum">
              <a:rPr lang="en-GB" noProof="0" smtClean="0"/>
              <a:pPr/>
              <a:t>‹#›</a:t>
            </a:fld>
            <a:endParaRPr lang="en-GB" noProof="0"/>
          </a:p>
        </p:txBody>
      </p:sp>
      <p:sp>
        <p:nvSpPr>
          <p:cNvPr id="10" name="Rectangle 9"/>
          <p:cNvSpPr/>
          <p:nvPr userDrawn="1"/>
        </p:nvSpPr>
        <p:spPr bwMode="gray">
          <a:xfrm>
            <a:off x="9854400" y="577195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pic>
        <p:nvPicPr>
          <p:cNvPr id="12" name="Image 11"/>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bwMode="gray">
          <a:xfrm>
            <a:off x="9782979" y="5424167"/>
            <a:ext cx="2400000" cy="1437563"/>
          </a:xfrm>
          <a:prstGeom prst="rect">
            <a:avLst/>
          </a:prstGeom>
        </p:spPr>
      </p:pic>
    </p:spTree>
    <p:extLst>
      <p:ext uri="{BB962C8B-B14F-4D97-AF65-F5344CB8AC3E}">
        <p14:creationId xmlns:p14="http://schemas.microsoft.com/office/powerpoint/2010/main" val="3808221121"/>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Lst>
  <p:hf hdr="0" dt="0"/>
  <p:txStyles>
    <p:titleStyle>
      <a:lvl1pPr algn="l" defTabSz="1219170" rtl="0" eaLnBrk="1" latinLnBrk="0" hangingPunct="1">
        <a:lnSpc>
          <a:spcPct val="90000"/>
        </a:lnSpc>
        <a:spcBef>
          <a:spcPct val="0"/>
        </a:spcBef>
        <a:buNone/>
        <a:defRPr sz="3733" b="0" kern="1200" cap="none" baseline="0">
          <a:solidFill>
            <a:schemeClr val="accent1"/>
          </a:solidFill>
          <a:latin typeface="+mj-lt"/>
          <a:ea typeface="+mj-ea"/>
          <a:cs typeface="+mj-cs"/>
        </a:defRPr>
      </a:lvl1pPr>
    </p:titleStyle>
    <p:bodyStyle>
      <a:lvl1pPr marL="0" indent="0" algn="l" defTabSz="1219170" rtl="0" eaLnBrk="1" latinLnBrk="0" hangingPunct="1">
        <a:lnSpc>
          <a:spcPct val="110000"/>
        </a:lnSpc>
        <a:spcBef>
          <a:spcPts val="0"/>
        </a:spcBef>
        <a:buFont typeface="Arial" pitchFamily="34" charset="0"/>
        <a:buNone/>
        <a:defRPr sz="2667" b="1" kern="1200">
          <a:solidFill>
            <a:schemeClr val="accent1"/>
          </a:solidFill>
          <a:latin typeface="+mn-lt"/>
          <a:ea typeface="+mn-ea"/>
          <a:cs typeface="+mn-cs"/>
        </a:defRPr>
      </a:lvl1pPr>
      <a:lvl2pPr marL="431989" indent="-239994" algn="l" defTabSz="1219170" rtl="0" eaLnBrk="1" latinLnBrk="0" hangingPunct="1">
        <a:lnSpc>
          <a:spcPct val="100000"/>
        </a:lnSpc>
        <a:spcBef>
          <a:spcPts val="400"/>
        </a:spcBef>
        <a:buClr>
          <a:schemeClr val="accent3"/>
        </a:buClr>
        <a:buFont typeface="Arial" pitchFamily="34" charset="0"/>
        <a:buChar char="•"/>
        <a:defRPr sz="2400" b="1" kern="1200">
          <a:solidFill>
            <a:schemeClr val="tx1"/>
          </a:solidFill>
          <a:latin typeface="+mn-lt"/>
          <a:ea typeface="+mn-ea"/>
          <a:cs typeface="+mn-cs"/>
        </a:defRPr>
      </a:lvl2pPr>
      <a:lvl3pPr marL="671983" indent="-239994" algn="l" defTabSz="1219170" rtl="0" eaLnBrk="1" latinLnBrk="0" hangingPunct="1">
        <a:lnSpc>
          <a:spcPct val="100000"/>
        </a:lnSpc>
        <a:spcBef>
          <a:spcPts val="400"/>
        </a:spcBef>
        <a:buSzPct val="100000"/>
        <a:buFont typeface="Arial" pitchFamily="34" charset="0"/>
        <a:buChar char="•"/>
        <a:defRPr sz="2133" b="0" kern="1200">
          <a:solidFill>
            <a:schemeClr val="tx1"/>
          </a:solidFill>
          <a:latin typeface="+mn-lt"/>
          <a:ea typeface="+mn-ea"/>
          <a:cs typeface="+mn-cs"/>
        </a:defRPr>
      </a:lvl3pPr>
      <a:lvl4pPr marL="671983" indent="0" algn="l" defTabSz="1219170" rtl="0" eaLnBrk="1" latinLnBrk="0" hangingPunct="1">
        <a:lnSpc>
          <a:spcPct val="100000"/>
        </a:lnSpc>
        <a:spcBef>
          <a:spcPts val="400"/>
        </a:spcBef>
        <a:buSzPct val="100000"/>
        <a:buFont typeface="Arial" pitchFamily="34" charset="0"/>
        <a:buNone/>
        <a:defRPr sz="2133" kern="1200">
          <a:solidFill>
            <a:schemeClr val="tx1"/>
          </a:solidFill>
          <a:latin typeface="+mn-lt"/>
          <a:ea typeface="+mn-ea"/>
          <a:cs typeface="+mn-cs"/>
        </a:defRPr>
      </a:lvl4pPr>
      <a:lvl5pPr marL="911977" indent="-239994" algn="l" defTabSz="1219170" rtl="0" eaLnBrk="1" latinLnBrk="0" hangingPunct="1">
        <a:lnSpc>
          <a:spcPct val="100000"/>
        </a:lnSpc>
        <a:spcBef>
          <a:spcPts val="400"/>
        </a:spcBef>
        <a:buSzPct val="100000"/>
        <a:buFont typeface="Arial" pitchFamily="34" charset="0"/>
        <a:buChar char="•"/>
        <a:defRPr sz="18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E238C5-FDA7-4D0A-B067-25217FDA4442}" type="datetimeFigureOut">
              <a:rPr lang="en-US" smtClean="0"/>
              <a:t>8/20/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75865D4-F826-4C5B-A587-97EC6A0008D3}" type="slidenum">
              <a:rPr lang="en-US" smtClean="0"/>
              <a:t>‹#›</a:t>
            </a:fld>
            <a:endParaRPr lang="en-US"/>
          </a:p>
        </p:txBody>
      </p:sp>
    </p:spTree>
    <p:extLst>
      <p:ext uri="{BB962C8B-B14F-4D97-AF65-F5344CB8AC3E}">
        <p14:creationId xmlns:p14="http://schemas.microsoft.com/office/powerpoint/2010/main" val="2339727148"/>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8" Type="http://schemas.openxmlformats.org/officeDocument/2006/relationships/tags" Target="../tags/tag270.xml"/><Relationship Id="rId3" Type="http://schemas.openxmlformats.org/officeDocument/2006/relationships/tags" Target="../tags/tag265.xml"/><Relationship Id="rId7" Type="http://schemas.openxmlformats.org/officeDocument/2006/relationships/tags" Target="../tags/tag269.xml"/><Relationship Id="rId2" Type="http://schemas.openxmlformats.org/officeDocument/2006/relationships/tags" Target="../tags/tag264.xml"/><Relationship Id="rId1" Type="http://schemas.openxmlformats.org/officeDocument/2006/relationships/vmlDrawing" Target="../drawings/vmlDrawing39.vml"/><Relationship Id="rId6" Type="http://schemas.openxmlformats.org/officeDocument/2006/relationships/tags" Target="../tags/tag268.xml"/><Relationship Id="rId11" Type="http://schemas.openxmlformats.org/officeDocument/2006/relationships/image" Target="../media/image21.emf"/><Relationship Id="rId5" Type="http://schemas.openxmlformats.org/officeDocument/2006/relationships/tags" Target="../tags/tag267.xml"/><Relationship Id="rId10" Type="http://schemas.openxmlformats.org/officeDocument/2006/relationships/oleObject" Target="../embeddings/oleObject39.bin"/><Relationship Id="rId4" Type="http://schemas.openxmlformats.org/officeDocument/2006/relationships/tags" Target="../tags/tag266.xml"/><Relationship Id="rId9"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tags" Target="../tags/tag277.xml"/><Relationship Id="rId3" Type="http://schemas.openxmlformats.org/officeDocument/2006/relationships/tags" Target="../tags/tag272.xml"/><Relationship Id="rId7" Type="http://schemas.openxmlformats.org/officeDocument/2006/relationships/tags" Target="../tags/tag276.xml"/><Relationship Id="rId2" Type="http://schemas.openxmlformats.org/officeDocument/2006/relationships/tags" Target="../tags/tag271.xml"/><Relationship Id="rId1" Type="http://schemas.openxmlformats.org/officeDocument/2006/relationships/vmlDrawing" Target="../drawings/vmlDrawing40.vml"/><Relationship Id="rId6" Type="http://schemas.openxmlformats.org/officeDocument/2006/relationships/tags" Target="../tags/tag275.xml"/><Relationship Id="rId11" Type="http://schemas.openxmlformats.org/officeDocument/2006/relationships/image" Target="../media/image21.emf"/><Relationship Id="rId5" Type="http://schemas.openxmlformats.org/officeDocument/2006/relationships/tags" Target="../tags/tag274.xml"/><Relationship Id="rId10" Type="http://schemas.openxmlformats.org/officeDocument/2006/relationships/oleObject" Target="../embeddings/oleObject39.bin"/><Relationship Id="rId4" Type="http://schemas.openxmlformats.org/officeDocument/2006/relationships/tags" Target="../tags/tag273.xml"/><Relationship Id="rId9"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39.bin"/><Relationship Id="rId13" Type="http://schemas.openxmlformats.org/officeDocument/2006/relationships/image" Target="../media/image25.png"/><Relationship Id="rId3" Type="http://schemas.openxmlformats.org/officeDocument/2006/relationships/tags" Target="../tags/tag279.xml"/><Relationship Id="rId7" Type="http://schemas.openxmlformats.org/officeDocument/2006/relationships/slideLayout" Target="../slideLayouts/slideLayout10.xml"/><Relationship Id="rId12" Type="http://schemas.openxmlformats.org/officeDocument/2006/relationships/image" Target="../media/image24.png"/><Relationship Id="rId2" Type="http://schemas.openxmlformats.org/officeDocument/2006/relationships/tags" Target="../tags/tag278.xml"/><Relationship Id="rId1" Type="http://schemas.openxmlformats.org/officeDocument/2006/relationships/vmlDrawing" Target="../drawings/vmlDrawing41.vml"/><Relationship Id="rId6" Type="http://schemas.openxmlformats.org/officeDocument/2006/relationships/tags" Target="../tags/tag282.xml"/><Relationship Id="rId11" Type="http://schemas.openxmlformats.org/officeDocument/2006/relationships/image" Target="../media/image23.png"/><Relationship Id="rId5" Type="http://schemas.openxmlformats.org/officeDocument/2006/relationships/tags" Target="../tags/tag281.xml"/><Relationship Id="rId10" Type="http://schemas.openxmlformats.org/officeDocument/2006/relationships/image" Target="../media/image22.png"/><Relationship Id="rId4" Type="http://schemas.openxmlformats.org/officeDocument/2006/relationships/tags" Target="../tags/tag280.xml"/><Relationship Id="rId9" Type="http://schemas.openxmlformats.org/officeDocument/2006/relationships/image" Target="../media/image21.emf"/><Relationship Id="rId14" Type="http://schemas.openxmlformats.org/officeDocument/2006/relationships/image" Target="../media/image26.png"/></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22092EF-80B3-4077-B7B5-DF2988DDCF8E}"/>
              </a:ext>
            </a:extLst>
          </p:cNvPr>
          <p:cNvSpPr>
            <a:spLocks noGrp="1"/>
          </p:cNvSpPr>
          <p:nvPr>
            <p:ph type="title"/>
          </p:nvPr>
        </p:nvSpPr>
        <p:spPr>
          <a:xfrm>
            <a:off x="554734" y="2034104"/>
            <a:ext cx="3465576" cy="1602817"/>
          </a:xfrm>
        </p:spPr>
        <p:txBody>
          <a:bodyPr/>
          <a:lstStyle/>
          <a:p>
            <a:r>
              <a:rPr lang="en-US" dirty="0"/>
              <a:t>A Platform to design a sound immunization waste management system</a:t>
            </a:r>
          </a:p>
        </p:txBody>
      </p:sp>
      <p:sp>
        <p:nvSpPr>
          <p:cNvPr id="9" name="Subtitle 8">
            <a:extLst>
              <a:ext uri="{FF2B5EF4-FFF2-40B4-BE49-F238E27FC236}">
                <a16:creationId xmlns:a16="http://schemas.microsoft.com/office/drawing/2014/main" id="{E83B6F67-AAD5-4BD6-A73D-AA9A07867AF1}"/>
              </a:ext>
            </a:extLst>
          </p:cNvPr>
          <p:cNvSpPr>
            <a:spLocks noGrp="1"/>
          </p:cNvSpPr>
          <p:nvPr>
            <p:ph type="subTitle" idx="1"/>
          </p:nvPr>
        </p:nvSpPr>
        <p:spPr>
          <a:xfrm>
            <a:off x="441790" y="4244434"/>
            <a:ext cx="3855924" cy="630942"/>
          </a:xfrm>
        </p:spPr>
        <p:txBody>
          <a:bodyPr/>
          <a:lstStyle/>
          <a:p>
            <a:r>
              <a:rPr lang="en-US" i="1" dirty="0">
                <a:solidFill>
                  <a:srgbClr val="FF0000"/>
                </a:solidFill>
              </a:rPr>
              <a:t>WEBINAR AUGUST 20</a:t>
            </a:r>
          </a:p>
          <a:p>
            <a:r>
              <a:rPr lang="en-US" i="1" dirty="0">
                <a:solidFill>
                  <a:srgbClr val="FF0000"/>
                </a:solidFill>
              </a:rPr>
              <a:t>Adama Sawadogo</a:t>
            </a:r>
            <a:r>
              <a:rPr lang="en-US" i="1" dirty="0"/>
              <a:t> </a:t>
            </a:r>
          </a:p>
        </p:txBody>
      </p:sp>
      <p:sp>
        <p:nvSpPr>
          <p:cNvPr id="10" name="Text Placeholder 9">
            <a:extLst>
              <a:ext uri="{FF2B5EF4-FFF2-40B4-BE49-F238E27FC236}">
                <a16:creationId xmlns:a16="http://schemas.microsoft.com/office/drawing/2014/main" id="{5674AB3A-6D5A-4348-809B-9A53E36C89EC}"/>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1329365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90A3DFC9-4DD7-4433-87AD-2EBB88A33726}"/>
              </a:ext>
            </a:extLst>
          </p:cNvPr>
          <p:cNvGraphicFramePr>
            <a:graphicFrameLocks noChangeAspect="1"/>
          </p:cNvGraphicFramePr>
          <p:nvPr>
            <p:custDataLst>
              <p:tags r:id="rId2"/>
            </p:custDataLst>
            <p:extLst>
              <p:ext uri="{D42A27DB-BD31-4B8C-83A1-F6EECF244321}">
                <p14:modId xmlns:p14="http://schemas.microsoft.com/office/powerpoint/2010/main" val="328124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2405" name="think-cell Slide" r:id="rId10" imgW="395" imgH="396" progId="TCLayout.ActiveDocument.1">
                  <p:embed/>
                </p:oleObj>
              </mc:Choice>
              <mc:Fallback>
                <p:oleObj name="think-cell Slide" r:id="rId10" imgW="395" imgH="39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CB34215A-24C8-4FD3-B3D9-6C6B22A1276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GB" sz="2500" b="1"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AA736A31-5CEB-455B-9EF5-BDDF3A4E28A6}"/>
              </a:ext>
            </a:extLst>
          </p:cNvPr>
          <p:cNvSpPr>
            <a:spLocks noGrp="1"/>
          </p:cNvSpPr>
          <p:nvPr>
            <p:ph type="title"/>
            <p:custDataLst>
              <p:tags r:id="rId4"/>
            </p:custDataLst>
          </p:nvPr>
        </p:nvSpPr>
        <p:spPr>
          <a:xfrm>
            <a:off x="1057618" y="172212"/>
            <a:ext cx="4562893" cy="384721"/>
          </a:xfrm>
        </p:spPr>
        <p:txBody>
          <a:bodyPr/>
          <a:lstStyle/>
          <a:p>
            <a:r>
              <a:rPr lang="en-GB" i="1" dirty="0">
                <a:solidFill>
                  <a:srgbClr val="FF0000"/>
                </a:solidFill>
              </a:rPr>
              <a:t> The Context</a:t>
            </a:r>
          </a:p>
        </p:txBody>
      </p:sp>
      <p:sp>
        <p:nvSpPr>
          <p:cNvPr id="11" name="KeyTakeawayOF 7">
            <a:extLst>
              <a:ext uri="{FF2B5EF4-FFF2-40B4-BE49-F238E27FC236}">
                <a16:creationId xmlns:a16="http://schemas.microsoft.com/office/drawing/2014/main" id="{B4F6613D-368D-46E5-A42B-C186AA3DF573}"/>
              </a:ext>
            </a:extLst>
          </p:cNvPr>
          <p:cNvSpPr txBox="1"/>
          <p:nvPr>
            <p:custDataLst>
              <p:tags r:id="rId5"/>
            </p:custDataLst>
          </p:nvPr>
        </p:nvSpPr>
        <p:spPr>
          <a:xfrm>
            <a:off x="308156" y="914650"/>
            <a:ext cx="5424824" cy="5760623"/>
          </a:xfrm>
          <a:prstGeom prst="rect">
            <a:avLst/>
          </a:prstGeom>
          <a:noFill/>
        </p:spPr>
        <p:txBody>
          <a:bodyPr vert="horz" wrap="square" lIns="182880" tIns="182880" rIns="182880" bIns="18288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950"/>
              </a:spcBef>
            </a:pPr>
            <a:r>
              <a:rPr lang="en-US" sz="1800" dirty="0"/>
              <a:t>As countries expand their immunization schedules and increase immunization coverage, immunization activities generate infectious waste that must be safely managed to reduce health risk and environment pollution but in practice, the ‘after-injection’ (what happens after a vaccine is given to a child) is assumed as fine and the waste generated through immunization activities is generally not taken care of in a safe manner</a:t>
            </a:r>
            <a:r>
              <a:rPr lang="en-US" sz="2400" dirty="0"/>
              <a:t>.</a:t>
            </a:r>
          </a:p>
          <a:p>
            <a:pPr lvl="1">
              <a:spcBef>
                <a:spcPts val="950"/>
              </a:spcBef>
            </a:pPr>
            <a:r>
              <a:rPr lang="en-US" sz="1800" dirty="0"/>
              <a:t>immunization delivery waste (e.g. injection waste) is dispersed in many health centers/sites, and in relatively smaller quantities in routine context; in the other hand, campaigns with injectable vaccines (Measles/MR, Yellow fever, ….), produce in a short period of time huge quantities of waste that must be adequately managed, and this presents a unique challenge.</a:t>
            </a:r>
          </a:p>
        </p:txBody>
      </p:sp>
      <p:sp>
        <p:nvSpPr>
          <p:cNvPr id="12" name="KeyTakeawayOF 7">
            <a:extLst>
              <a:ext uri="{FF2B5EF4-FFF2-40B4-BE49-F238E27FC236}">
                <a16:creationId xmlns:a16="http://schemas.microsoft.com/office/drawing/2014/main" id="{D3A34094-2E34-4BDE-942D-A85C6C7E35EB}"/>
              </a:ext>
            </a:extLst>
          </p:cNvPr>
          <p:cNvSpPr txBox="1">
            <a:spLocks/>
          </p:cNvSpPr>
          <p:nvPr>
            <p:custDataLst>
              <p:tags r:id="rId6"/>
            </p:custDataLst>
          </p:nvPr>
        </p:nvSpPr>
        <p:spPr>
          <a:xfrm>
            <a:off x="6759498" y="546721"/>
            <a:ext cx="4680647" cy="549466"/>
          </a:xfrm>
          <a:prstGeom prst="rect">
            <a:avLst/>
          </a:prstGeom>
          <a:noFill/>
        </p:spPr>
        <p:txBody>
          <a:bodyPr vert="horz" wrap="square" lIns="182880" tIns="182880" rIns="182880" bIns="18288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2400" b="1" dirty="0">
                <a:solidFill>
                  <a:srgbClr val="FF0000"/>
                </a:solidFill>
              </a:rPr>
              <a:t>A real and shared concern</a:t>
            </a:r>
          </a:p>
        </p:txBody>
      </p:sp>
      <p:sp>
        <p:nvSpPr>
          <p:cNvPr id="13" name="KeyTakeawayOF 7">
            <a:extLst>
              <a:ext uri="{FF2B5EF4-FFF2-40B4-BE49-F238E27FC236}">
                <a16:creationId xmlns:a16="http://schemas.microsoft.com/office/drawing/2014/main" id="{9694E35F-CCE8-4F91-AD71-9E4ACB101F9A}"/>
              </a:ext>
            </a:extLst>
          </p:cNvPr>
          <p:cNvSpPr txBox="1">
            <a:spLocks/>
          </p:cNvSpPr>
          <p:nvPr>
            <p:custDataLst>
              <p:tags r:id="rId7"/>
            </p:custDataLst>
          </p:nvPr>
        </p:nvSpPr>
        <p:spPr>
          <a:xfrm>
            <a:off x="6562380" y="1534238"/>
            <a:ext cx="5074884" cy="4502308"/>
          </a:xfrm>
          <a:prstGeom prst="rect">
            <a:avLst/>
          </a:prstGeom>
          <a:noFill/>
        </p:spPr>
        <p:txBody>
          <a:bodyPr vert="horz" wrap="square" lIns="182880" tIns="182880" rIns="182880" bIns="18288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ts val="950"/>
              </a:spcBef>
              <a:buNone/>
            </a:pPr>
            <a:r>
              <a:rPr lang="en-US" sz="1800" dirty="0">
                <a:solidFill>
                  <a:srgbClr val="0070C0"/>
                </a:solidFill>
              </a:rPr>
              <a:t>“I just learned from TechNet about your session on waste disposal. I don't think I will join but I do want to share a concern about medical sharps waste disposal that I have not heard anyone yet raise -- and my back-of-the-envelope calculation..  I did the math many months ago: If 7 billion people indeed received just one shot, the syringes laid end to end would encircle the world at the equator 20 times. (alternatively they would go to the moon and back)”.</a:t>
            </a:r>
          </a:p>
          <a:p>
            <a:pPr marL="0" lvl="1" indent="0">
              <a:spcBef>
                <a:spcPts val="950"/>
              </a:spcBef>
              <a:buNone/>
            </a:pPr>
            <a:r>
              <a:rPr lang="en-US" sz="1800" dirty="0">
                <a:solidFill>
                  <a:srgbClr val="0070C0"/>
                </a:solidFill>
              </a:rPr>
              <a:t>Robert </a:t>
            </a:r>
            <a:r>
              <a:rPr lang="en-US" sz="1800" dirty="0" err="1">
                <a:solidFill>
                  <a:srgbClr val="0070C0"/>
                </a:solidFill>
              </a:rPr>
              <a:t>Steinglass</a:t>
            </a:r>
            <a:endParaRPr lang="en-US" sz="1800" dirty="0">
              <a:solidFill>
                <a:srgbClr val="0070C0"/>
              </a:solidFill>
            </a:endParaRPr>
          </a:p>
          <a:p>
            <a:pPr marL="0" lvl="1" indent="0">
              <a:spcBef>
                <a:spcPts val="950"/>
              </a:spcBef>
              <a:buNone/>
            </a:pPr>
            <a:r>
              <a:rPr lang="en-US" sz="1800" i="1" dirty="0">
                <a:solidFill>
                  <a:srgbClr val="0070C0"/>
                </a:solidFill>
              </a:rPr>
              <a:t>His message on the webinar on waste management 07/31/2020 </a:t>
            </a:r>
          </a:p>
        </p:txBody>
      </p:sp>
      <p:sp>
        <p:nvSpPr>
          <p:cNvPr id="16" name="TrackerNumBlue 7">
            <a:extLst>
              <a:ext uri="{FF2B5EF4-FFF2-40B4-BE49-F238E27FC236}">
                <a16:creationId xmlns:a16="http://schemas.microsoft.com/office/drawing/2014/main" id="{545F5B0A-FFE8-47F5-BD93-D704811F9882}"/>
              </a:ext>
            </a:extLst>
          </p:cNvPr>
          <p:cNvSpPr/>
          <p:nvPr>
            <p:custDataLst>
              <p:tags r:id="rId8"/>
            </p:custDataLst>
          </p:nvPr>
        </p:nvSpPr>
        <p:spPr>
          <a:xfrm>
            <a:off x="506464" y="182727"/>
            <a:ext cx="444500" cy="44450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dirty="0">
                <a:solidFill>
                  <a:schemeClr val="bg1"/>
                </a:solidFill>
              </a:rPr>
              <a:t>1</a:t>
            </a:r>
          </a:p>
        </p:txBody>
      </p:sp>
    </p:spTree>
    <p:extLst>
      <p:ext uri="{BB962C8B-B14F-4D97-AF65-F5344CB8AC3E}">
        <p14:creationId xmlns:p14="http://schemas.microsoft.com/office/powerpoint/2010/main" val="4190556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90A3DFC9-4DD7-4433-87AD-2EBB88A337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558" name="think-cell Slide" r:id="rId10" imgW="395" imgH="396" progId="TCLayout.ActiveDocument.1">
                  <p:embed/>
                </p:oleObj>
              </mc:Choice>
              <mc:Fallback>
                <p:oleObj name="think-cell Slide" r:id="rId10" imgW="395" imgH="396" progId="TCLayout.ActiveDocument.1">
                  <p:embed/>
                  <p:pic>
                    <p:nvPicPr>
                      <p:cNvPr id="6" name="Object 2" hidden="1">
                        <a:extLst>
                          <a:ext uri="{FF2B5EF4-FFF2-40B4-BE49-F238E27FC236}">
                            <a16:creationId xmlns:a16="http://schemas.microsoft.com/office/drawing/2014/main" id="{90A3DFC9-4DD7-4433-87AD-2EBB88A3372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CB34215A-24C8-4FD3-B3D9-6C6B22A1276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GB" sz="2500" b="1"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AA736A31-5CEB-455B-9EF5-BDDF3A4E28A6}"/>
              </a:ext>
            </a:extLst>
          </p:cNvPr>
          <p:cNvSpPr>
            <a:spLocks noGrp="1"/>
          </p:cNvSpPr>
          <p:nvPr>
            <p:ph type="title"/>
            <p:custDataLst>
              <p:tags r:id="rId4"/>
            </p:custDataLst>
          </p:nvPr>
        </p:nvSpPr>
        <p:spPr>
          <a:xfrm>
            <a:off x="1293923" y="231160"/>
            <a:ext cx="2877385" cy="861774"/>
          </a:xfrm>
        </p:spPr>
        <p:txBody>
          <a:bodyPr/>
          <a:lstStyle/>
          <a:p>
            <a:r>
              <a:rPr lang="en-GB" sz="2800" i="1" dirty="0">
                <a:solidFill>
                  <a:srgbClr val="FF0000"/>
                </a:solidFill>
              </a:rPr>
              <a:t>The objectives</a:t>
            </a:r>
          </a:p>
        </p:txBody>
      </p:sp>
      <p:sp>
        <p:nvSpPr>
          <p:cNvPr id="11" name="KeyTakeawayOF 7">
            <a:extLst>
              <a:ext uri="{FF2B5EF4-FFF2-40B4-BE49-F238E27FC236}">
                <a16:creationId xmlns:a16="http://schemas.microsoft.com/office/drawing/2014/main" id="{B4F6613D-368D-46E5-A42B-C186AA3DF573}"/>
              </a:ext>
            </a:extLst>
          </p:cNvPr>
          <p:cNvSpPr txBox="1"/>
          <p:nvPr>
            <p:custDataLst>
              <p:tags r:id="rId5"/>
            </p:custDataLst>
          </p:nvPr>
        </p:nvSpPr>
        <p:spPr>
          <a:xfrm>
            <a:off x="300981" y="1362392"/>
            <a:ext cx="5462821" cy="4502308"/>
          </a:xfrm>
          <a:prstGeom prst="rect">
            <a:avLst/>
          </a:prstGeom>
          <a:noFill/>
        </p:spPr>
        <p:txBody>
          <a:bodyPr vert="horz" wrap="square" lIns="182880" tIns="182880" rIns="182880" bIns="18288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950"/>
              </a:spcBef>
            </a:pPr>
            <a:r>
              <a:rPr lang="en-US" sz="2000" dirty="0"/>
              <a:t>Fortunately, the immunization/injection waste can be collected and transported to a safe treatment/disposal site.</a:t>
            </a:r>
          </a:p>
          <a:p>
            <a:pPr lvl="1">
              <a:spcBef>
                <a:spcPts val="950"/>
              </a:spcBef>
            </a:pPr>
            <a:endParaRPr lang="en-US" sz="2000" dirty="0"/>
          </a:p>
          <a:p>
            <a:pPr lvl="1">
              <a:spcBef>
                <a:spcPts val="950"/>
              </a:spcBef>
            </a:pPr>
            <a:r>
              <a:rPr lang="en-US" sz="2000" dirty="0"/>
              <a:t> The ADIW platform offers a practical guidance platform for  stakeholders at district, province/regional or national level to consensually design how to cluster health centers where waste is generated to appropriate treatment and disposal sites (reference sites) where the waste can be adequately disposed.</a:t>
            </a:r>
            <a:endParaRPr lang="en-GB" sz="2000" dirty="0">
              <a:highlight>
                <a:srgbClr val="FFFF00"/>
              </a:highlight>
            </a:endParaRPr>
          </a:p>
        </p:txBody>
      </p:sp>
      <p:sp>
        <p:nvSpPr>
          <p:cNvPr id="12" name="KeyTakeawayOF 7">
            <a:extLst>
              <a:ext uri="{FF2B5EF4-FFF2-40B4-BE49-F238E27FC236}">
                <a16:creationId xmlns:a16="http://schemas.microsoft.com/office/drawing/2014/main" id="{D3A34094-2E34-4BDE-942D-A85C6C7E35EB}"/>
              </a:ext>
            </a:extLst>
          </p:cNvPr>
          <p:cNvSpPr txBox="1">
            <a:spLocks/>
          </p:cNvSpPr>
          <p:nvPr>
            <p:custDataLst>
              <p:tags r:id="rId6"/>
            </p:custDataLst>
          </p:nvPr>
        </p:nvSpPr>
        <p:spPr>
          <a:xfrm>
            <a:off x="6205592" y="18087"/>
            <a:ext cx="5866544" cy="947684"/>
          </a:xfrm>
          <a:prstGeom prst="rect">
            <a:avLst/>
          </a:prstGeom>
          <a:noFill/>
        </p:spPr>
        <p:txBody>
          <a:bodyPr vert="horz" wrap="square" lIns="182880" tIns="182880" rIns="182880" bIns="18288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400" b="1" i="1" dirty="0">
                <a:solidFill>
                  <a:srgbClr val="FF0000"/>
                </a:solidFill>
              </a:rPr>
              <a:t>The concept of the ADIW platform is based on 4 principles</a:t>
            </a:r>
          </a:p>
          <a:p>
            <a:endParaRPr lang="en-GB" sz="2000" b="1" dirty="0"/>
          </a:p>
        </p:txBody>
      </p:sp>
      <p:sp>
        <p:nvSpPr>
          <p:cNvPr id="13" name="KeyTakeawayOF 7">
            <a:extLst>
              <a:ext uri="{FF2B5EF4-FFF2-40B4-BE49-F238E27FC236}">
                <a16:creationId xmlns:a16="http://schemas.microsoft.com/office/drawing/2014/main" id="{9694E35F-CCE8-4F91-AD71-9E4ACB101F9A}"/>
              </a:ext>
            </a:extLst>
          </p:cNvPr>
          <p:cNvSpPr txBox="1">
            <a:spLocks/>
          </p:cNvSpPr>
          <p:nvPr>
            <p:custDataLst>
              <p:tags r:id="rId7"/>
            </p:custDataLst>
          </p:nvPr>
        </p:nvSpPr>
        <p:spPr>
          <a:xfrm>
            <a:off x="6562380" y="1544512"/>
            <a:ext cx="5074884" cy="4502308"/>
          </a:xfrm>
          <a:prstGeom prst="rect">
            <a:avLst/>
          </a:prstGeom>
          <a:noFill/>
        </p:spPr>
        <p:txBody>
          <a:bodyPr vert="horz" wrap="square" lIns="182880" tIns="182880" rIns="182880" bIns="18288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lvl="1" indent="-342900">
              <a:spcBef>
                <a:spcPts val="950"/>
              </a:spcBef>
              <a:buFont typeface="+mj-lt"/>
              <a:buAutoNum type="arabicPeriod"/>
            </a:pPr>
            <a:r>
              <a:rPr lang="en-US" sz="2000" dirty="0">
                <a:solidFill>
                  <a:srgbClr val="0070C0"/>
                </a:solidFill>
              </a:rPr>
              <a:t>The adequate clustering of HF around selected disposal sites</a:t>
            </a:r>
          </a:p>
          <a:p>
            <a:pPr marL="342900" lvl="1" indent="-342900">
              <a:spcBef>
                <a:spcPts val="950"/>
              </a:spcBef>
              <a:buFont typeface="+mj-lt"/>
              <a:buAutoNum type="arabicPeriod"/>
            </a:pPr>
            <a:r>
              <a:rPr lang="en-US" sz="2000" dirty="0">
                <a:solidFill>
                  <a:srgbClr val="0070C0"/>
                </a:solidFill>
              </a:rPr>
              <a:t>The good/practical combination of acceptable treatment and disposal options/facilities available locally</a:t>
            </a:r>
          </a:p>
          <a:p>
            <a:pPr marL="342900" lvl="1" indent="-342900">
              <a:spcBef>
                <a:spcPts val="950"/>
              </a:spcBef>
              <a:buFont typeface="+mj-lt"/>
              <a:buAutoNum type="arabicPeriod"/>
            </a:pPr>
            <a:r>
              <a:rPr lang="en-US" sz="2000" dirty="0">
                <a:solidFill>
                  <a:srgbClr val="0070C0"/>
                </a:solidFill>
              </a:rPr>
              <a:t>The necessary accountability: responsibilities and supervision clearly assigned at all the steps</a:t>
            </a:r>
          </a:p>
          <a:p>
            <a:pPr marL="342900" lvl="1" indent="-342900">
              <a:spcBef>
                <a:spcPts val="950"/>
              </a:spcBef>
              <a:buFont typeface="+mj-lt"/>
              <a:buAutoNum type="arabicPeriod"/>
            </a:pPr>
            <a:r>
              <a:rPr lang="en-US" sz="2000" dirty="0">
                <a:solidFill>
                  <a:srgbClr val="0070C0"/>
                </a:solidFill>
              </a:rPr>
              <a:t>The further improvement of the technologies for handling, treating and disposing wastes</a:t>
            </a:r>
          </a:p>
          <a:p>
            <a:pPr lvl="1">
              <a:spcBef>
                <a:spcPts val="950"/>
              </a:spcBef>
            </a:pPr>
            <a:endParaRPr lang="en-US" sz="1800" dirty="0">
              <a:solidFill>
                <a:srgbClr val="FF0000"/>
              </a:solidFill>
            </a:endParaRPr>
          </a:p>
          <a:p>
            <a:pPr lvl="1">
              <a:spcBef>
                <a:spcPts val="950"/>
              </a:spcBef>
            </a:pPr>
            <a:endParaRPr lang="en-US" sz="1800" dirty="0">
              <a:solidFill>
                <a:srgbClr val="FF0000"/>
              </a:solidFill>
            </a:endParaRPr>
          </a:p>
        </p:txBody>
      </p:sp>
      <p:sp>
        <p:nvSpPr>
          <p:cNvPr id="16" name="TrackerNumBlue 7">
            <a:extLst>
              <a:ext uri="{FF2B5EF4-FFF2-40B4-BE49-F238E27FC236}">
                <a16:creationId xmlns:a16="http://schemas.microsoft.com/office/drawing/2014/main" id="{545F5B0A-FFE8-47F5-BD93-D704811F9882}"/>
              </a:ext>
            </a:extLst>
          </p:cNvPr>
          <p:cNvSpPr/>
          <p:nvPr>
            <p:custDataLst>
              <p:tags r:id="rId8"/>
            </p:custDataLst>
          </p:nvPr>
        </p:nvSpPr>
        <p:spPr>
          <a:xfrm>
            <a:off x="506464" y="182727"/>
            <a:ext cx="444500" cy="44450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dirty="0">
                <a:solidFill>
                  <a:schemeClr val="bg1"/>
                </a:solidFill>
              </a:rPr>
              <a:t>2</a:t>
            </a:r>
          </a:p>
        </p:txBody>
      </p:sp>
    </p:spTree>
    <p:extLst>
      <p:ext uri="{BB962C8B-B14F-4D97-AF65-F5344CB8AC3E}">
        <p14:creationId xmlns:p14="http://schemas.microsoft.com/office/powerpoint/2010/main" val="10685128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90A3DFC9-4DD7-4433-87AD-2EBB88A337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583" name="think-cell Slide" r:id="rId8" imgW="395" imgH="396" progId="TCLayout.ActiveDocument.1">
                  <p:embed/>
                </p:oleObj>
              </mc:Choice>
              <mc:Fallback>
                <p:oleObj name="think-cell Slide" r:id="rId8" imgW="395" imgH="396" progId="TCLayout.ActiveDocument.1">
                  <p:embed/>
                  <p:pic>
                    <p:nvPicPr>
                      <p:cNvPr id="6" name="Object 2" hidden="1">
                        <a:extLst>
                          <a:ext uri="{FF2B5EF4-FFF2-40B4-BE49-F238E27FC236}">
                            <a16:creationId xmlns:a16="http://schemas.microsoft.com/office/drawing/2014/main" id="{90A3DFC9-4DD7-4433-87AD-2EBB88A3372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CB34215A-24C8-4FD3-B3D9-6C6B22A1276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GB" sz="2500" b="1"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AA736A31-5CEB-455B-9EF5-BDDF3A4E28A6}"/>
              </a:ext>
            </a:extLst>
          </p:cNvPr>
          <p:cNvSpPr>
            <a:spLocks noGrp="1"/>
          </p:cNvSpPr>
          <p:nvPr>
            <p:ph type="title"/>
            <p:custDataLst>
              <p:tags r:id="rId4"/>
            </p:custDataLst>
          </p:nvPr>
        </p:nvSpPr>
        <p:spPr>
          <a:xfrm>
            <a:off x="1062550" y="224077"/>
            <a:ext cx="4964114" cy="384721"/>
          </a:xfrm>
        </p:spPr>
        <p:txBody>
          <a:bodyPr/>
          <a:lstStyle/>
          <a:p>
            <a:r>
              <a:rPr lang="en-GB" i="1" dirty="0">
                <a:solidFill>
                  <a:srgbClr val="FF0000"/>
                </a:solidFill>
              </a:rPr>
              <a:t>The ADIW critical requirements</a:t>
            </a:r>
          </a:p>
        </p:txBody>
      </p:sp>
      <p:sp>
        <p:nvSpPr>
          <p:cNvPr id="11" name="KeyTakeawayOF 7">
            <a:extLst>
              <a:ext uri="{FF2B5EF4-FFF2-40B4-BE49-F238E27FC236}">
                <a16:creationId xmlns:a16="http://schemas.microsoft.com/office/drawing/2014/main" id="{B4F6613D-368D-46E5-A42B-C186AA3DF573}"/>
              </a:ext>
            </a:extLst>
          </p:cNvPr>
          <p:cNvSpPr txBox="1"/>
          <p:nvPr>
            <p:custDataLst>
              <p:tags r:id="rId5"/>
            </p:custDataLst>
          </p:nvPr>
        </p:nvSpPr>
        <p:spPr>
          <a:xfrm>
            <a:off x="157690" y="1204891"/>
            <a:ext cx="5767337" cy="2904772"/>
          </a:xfrm>
          <a:prstGeom prst="rect">
            <a:avLst/>
          </a:prstGeom>
          <a:noFill/>
        </p:spPr>
        <p:txBody>
          <a:bodyPr vert="horz" wrap="square" lIns="182880" tIns="182880" rIns="182880" bIns="18288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950"/>
              </a:spcBef>
            </a:pPr>
            <a:r>
              <a:rPr lang="en-US" sz="1800" dirty="0"/>
              <a:t>ADIW is not a ready-made solution to fit all but rather a platform to design “your” solution in your context</a:t>
            </a:r>
          </a:p>
          <a:p>
            <a:pPr lvl="1">
              <a:spcBef>
                <a:spcPts val="950"/>
              </a:spcBef>
            </a:pPr>
            <a:r>
              <a:rPr lang="en-US" sz="1800" dirty="0"/>
              <a:t>The participation/involvement in the planning process of the concerned health facilities managers (e.g. district management team including health facilities’ </a:t>
            </a:r>
            <a:r>
              <a:rPr lang="en-US" sz="1800" dirty="0" err="1"/>
              <a:t>focals</a:t>
            </a:r>
            <a:r>
              <a:rPr lang="en-US" sz="1800" dirty="0"/>
              <a:t>) build a consensus and paves the way to accountability in order to ease the implementation.</a:t>
            </a:r>
          </a:p>
        </p:txBody>
      </p:sp>
      <p:sp>
        <p:nvSpPr>
          <p:cNvPr id="16" name="TrackerNumBlue 7">
            <a:extLst>
              <a:ext uri="{FF2B5EF4-FFF2-40B4-BE49-F238E27FC236}">
                <a16:creationId xmlns:a16="http://schemas.microsoft.com/office/drawing/2014/main" id="{545F5B0A-FFE8-47F5-BD93-D704811F9882}"/>
              </a:ext>
            </a:extLst>
          </p:cNvPr>
          <p:cNvSpPr/>
          <p:nvPr>
            <p:custDataLst>
              <p:tags r:id="rId6"/>
            </p:custDataLst>
          </p:nvPr>
        </p:nvSpPr>
        <p:spPr>
          <a:xfrm>
            <a:off x="506464" y="182727"/>
            <a:ext cx="444500" cy="44450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dirty="0">
                <a:solidFill>
                  <a:schemeClr val="bg1"/>
                </a:solidFill>
              </a:rPr>
              <a:t>3</a:t>
            </a:r>
          </a:p>
        </p:txBody>
      </p:sp>
      <p:pic>
        <p:nvPicPr>
          <p:cNvPr id="3" name="Picture 2">
            <a:extLst>
              <a:ext uri="{FF2B5EF4-FFF2-40B4-BE49-F238E27FC236}">
                <a16:creationId xmlns:a16="http://schemas.microsoft.com/office/drawing/2014/main" id="{F372764A-778F-45E8-A9F6-8D07115E760B}"/>
              </a:ext>
            </a:extLst>
          </p:cNvPr>
          <p:cNvPicPr>
            <a:picLocks noChangeAspect="1"/>
          </p:cNvPicPr>
          <p:nvPr/>
        </p:nvPicPr>
        <p:blipFill>
          <a:blip r:embed="rId10"/>
          <a:stretch>
            <a:fillRect/>
          </a:stretch>
        </p:blipFill>
        <p:spPr>
          <a:xfrm>
            <a:off x="542335" y="4292163"/>
            <a:ext cx="1767511" cy="1426166"/>
          </a:xfrm>
          <a:prstGeom prst="rect">
            <a:avLst/>
          </a:prstGeom>
        </p:spPr>
      </p:pic>
      <p:pic>
        <p:nvPicPr>
          <p:cNvPr id="4" name="Picture 3">
            <a:extLst>
              <a:ext uri="{FF2B5EF4-FFF2-40B4-BE49-F238E27FC236}">
                <a16:creationId xmlns:a16="http://schemas.microsoft.com/office/drawing/2014/main" id="{7A4EA524-F1E9-4F43-89C4-B05F34048173}"/>
              </a:ext>
            </a:extLst>
          </p:cNvPr>
          <p:cNvPicPr>
            <a:picLocks noChangeAspect="1"/>
          </p:cNvPicPr>
          <p:nvPr/>
        </p:nvPicPr>
        <p:blipFill>
          <a:blip r:embed="rId11"/>
          <a:stretch>
            <a:fillRect/>
          </a:stretch>
        </p:blipFill>
        <p:spPr>
          <a:xfrm>
            <a:off x="3544607" y="4250571"/>
            <a:ext cx="1621431" cy="1494167"/>
          </a:xfrm>
          <a:prstGeom prst="rect">
            <a:avLst/>
          </a:prstGeom>
        </p:spPr>
      </p:pic>
      <p:pic>
        <p:nvPicPr>
          <p:cNvPr id="7" name="Picture 6">
            <a:extLst>
              <a:ext uri="{FF2B5EF4-FFF2-40B4-BE49-F238E27FC236}">
                <a16:creationId xmlns:a16="http://schemas.microsoft.com/office/drawing/2014/main" id="{4EAF0CDF-7118-4266-9E3C-A697D4AFAE58}"/>
              </a:ext>
            </a:extLst>
          </p:cNvPr>
          <p:cNvPicPr>
            <a:picLocks noChangeAspect="1"/>
          </p:cNvPicPr>
          <p:nvPr/>
        </p:nvPicPr>
        <p:blipFill>
          <a:blip r:embed="rId12"/>
          <a:stretch>
            <a:fillRect/>
          </a:stretch>
        </p:blipFill>
        <p:spPr>
          <a:xfrm>
            <a:off x="7584324" y="3176"/>
            <a:ext cx="2011739" cy="1862722"/>
          </a:xfrm>
          <a:prstGeom prst="rect">
            <a:avLst/>
          </a:prstGeom>
        </p:spPr>
      </p:pic>
      <p:pic>
        <p:nvPicPr>
          <p:cNvPr id="8" name="Picture 7">
            <a:extLst>
              <a:ext uri="{FF2B5EF4-FFF2-40B4-BE49-F238E27FC236}">
                <a16:creationId xmlns:a16="http://schemas.microsoft.com/office/drawing/2014/main" id="{D515D607-32E7-4133-B454-67467E56B06C}"/>
              </a:ext>
            </a:extLst>
          </p:cNvPr>
          <p:cNvPicPr>
            <a:picLocks noChangeAspect="1"/>
          </p:cNvPicPr>
          <p:nvPr/>
        </p:nvPicPr>
        <p:blipFill>
          <a:blip r:embed="rId13"/>
          <a:stretch>
            <a:fillRect/>
          </a:stretch>
        </p:blipFill>
        <p:spPr>
          <a:xfrm>
            <a:off x="6266974" y="2476481"/>
            <a:ext cx="2103302" cy="1774090"/>
          </a:xfrm>
          <a:prstGeom prst="rect">
            <a:avLst/>
          </a:prstGeom>
        </p:spPr>
      </p:pic>
      <p:pic>
        <p:nvPicPr>
          <p:cNvPr id="9" name="Picture 8">
            <a:extLst>
              <a:ext uri="{FF2B5EF4-FFF2-40B4-BE49-F238E27FC236}">
                <a16:creationId xmlns:a16="http://schemas.microsoft.com/office/drawing/2014/main" id="{C789A4E5-89D3-45BE-84F4-38824B7022E3}"/>
              </a:ext>
            </a:extLst>
          </p:cNvPr>
          <p:cNvPicPr>
            <a:picLocks noChangeAspect="1"/>
          </p:cNvPicPr>
          <p:nvPr/>
        </p:nvPicPr>
        <p:blipFill>
          <a:blip r:embed="rId14"/>
          <a:stretch>
            <a:fillRect/>
          </a:stretch>
        </p:blipFill>
        <p:spPr>
          <a:xfrm>
            <a:off x="7318625" y="4722620"/>
            <a:ext cx="4505334" cy="1060796"/>
          </a:xfrm>
          <a:prstGeom prst="rect">
            <a:avLst/>
          </a:prstGeom>
        </p:spPr>
      </p:pic>
      <p:sp>
        <p:nvSpPr>
          <p:cNvPr id="10" name="Rectangle 9">
            <a:extLst>
              <a:ext uri="{FF2B5EF4-FFF2-40B4-BE49-F238E27FC236}">
                <a16:creationId xmlns:a16="http://schemas.microsoft.com/office/drawing/2014/main" id="{C61F55DC-1702-4043-91DF-2D640CBE9820}"/>
              </a:ext>
            </a:extLst>
          </p:cNvPr>
          <p:cNvSpPr/>
          <p:nvPr/>
        </p:nvSpPr>
        <p:spPr>
          <a:xfrm>
            <a:off x="293321" y="6024467"/>
            <a:ext cx="2290340" cy="369332"/>
          </a:xfrm>
          <a:prstGeom prst="rect">
            <a:avLst/>
          </a:prstGeom>
        </p:spPr>
        <p:txBody>
          <a:bodyPr wrap="square">
            <a:spAutoFit/>
          </a:bodyPr>
          <a:lstStyle/>
          <a:p>
            <a:r>
              <a:rPr lang="en-US" dirty="0">
                <a:solidFill>
                  <a:srgbClr val="0070C0"/>
                </a:solidFill>
              </a:rPr>
              <a:t>A common objective </a:t>
            </a:r>
          </a:p>
        </p:txBody>
      </p:sp>
      <p:sp>
        <p:nvSpPr>
          <p:cNvPr id="14" name="Rectangle 13">
            <a:extLst>
              <a:ext uri="{FF2B5EF4-FFF2-40B4-BE49-F238E27FC236}">
                <a16:creationId xmlns:a16="http://schemas.microsoft.com/office/drawing/2014/main" id="{C1DA3AB0-E966-4841-BF5C-59B6BB8F7DCD}"/>
              </a:ext>
            </a:extLst>
          </p:cNvPr>
          <p:cNvSpPr/>
          <p:nvPr/>
        </p:nvSpPr>
        <p:spPr>
          <a:xfrm>
            <a:off x="3544607" y="6025608"/>
            <a:ext cx="1813382" cy="369332"/>
          </a:xfrm>
          <a:prstGeom prst="rect">
            <a:avLst/>
          </a:prstGeom>
        </p:spPr>
        <p:txBody>
          <a:bodyPr wrap="none">
            <a:spAutoFit/>
          </a:bodyPr>
          <a:lstStyle/>
          <a:p>
            <a:r>
              <a:rPr lang="en-US" dirty="0">
                <a:solidFill>
                  <a:srgbClr val="0070C0"/>
                </a:solidFill>
              </a:rPr>
              <a:t>A joint planning </a:t>
            </a:r>
          </a:p>
        </p:txBody>
      </p:sp>
      <p:sp>
        <p:nvSpPr>
          <p:cNvPr id="15" name="Rectangle 14">
            <a:extLst>
              <a:ext uri="{FF2B5EF4-FFF2-40B4-BE49-F238E27FC236}">
                <a16:creationId xmlns:a16="http://schemas.microsoft.com/office/drawing/2014/main" id="{24937EDD-53AF-4D69-808E-A03C96B1856D}"/>
              </a:ext>
            </a:extLst>
          </p:cNvPr>
          <p:cNvSpPr/>
          <p:nvPr/>
        </p:nvSpPr>
        <p:spPr>
          <a:xfrm>
            <a:off x="6660125" y="1865898"/>
            <a:ext cx="4852803" cy="369332"/>
          </a:xfrm>
          <a:prstGeom prst="rect">
            <a:avLst/>
          </a:prstGeom>
        </p:spPr>
        <p:txBody>
          <a:bodyPr wrap="none">
            <a:spAutoFit/>
          </a:bodyPr>
          <a:lstStyle/>
          <a:p>
            <a:r>
              <a:rPr lang="en-US" dirty="0">
                <a:solidFill>
                  <a:srgbClr val="0070C0"/>
                </a:solidFill>
              </a:rPr>
              <a:t>The ADIW platform: A guidance for planning  </a:t>
            </a:r>
          </a:p>
        </p:txBody>
      </p:sp>
      <p:sp>
        <p:nvSpPr>
          <p:cNvPr id="17" name="Rectangle 16">
            <a:extLst>
              <a:ext uri="{FF2B5EF4-FFF2-40B4-BE49-F238E27FC236}">
                <a16:creationId xmlns:a16="http://schemas.microsoft.com/office/drawing/2014/main" id="{A90134F0-E1A1-4D9F-A305-F92D8699753B}"/>
              </a:ext>
            </a:extLst>
          </p:cNvPr>
          <p:cNvSpPr/>
          <p:nvPr/>
        </p:nvSpPr>
        <p:spPr>
          <a:xfrm>
            <a:off x="6783155" y="4250079"/>
            <a:ext cx="5040804" cy="369332"/>
          </a:xfrm>
          <a:prstGeom prst="rect">
            <a:avLst/>
          </a:prstGeom>
        </p:spPr>
        <p:txBody>
          <a:bodyPr wrap="none">
            <a:spAutoFit/>
          </a:bodyPr>
          <a:lstStyle/>
          <a:p>
            <a:r>
              <a:rPr lang="en-US" dirty="0">
                <a:solidFill>
                  <a:srgbClr val="0070C0"/>
                </a:solidFill>
              </a:rPr>
              <a:t>Complement each other beyond the differences</a:t>
            </a:r>
          </a:p>
        </p:txBody>
      </p:sp>
      <p:sp>
        <p:nvSpPr>
          <p:cNvPr id="18" name="Rectangle 17">
            <a:extLst>
              <a:ext uri="{FF2B5EF4-FFF2-40B4-BE49-F238E27FC236}">
                <a16:creationId xmlns:a16="http://schemas.microsoft.com/office/drawing/2014/main" id="{4F90971A-6E46-4DA2-AEB9-C1FFBEF202F0}"/>
              </a:ext>
            </a:extLst>
          </p:cNvPr>
          <p:cNvSpPr/>
          <p:nvPr/>
        </p:nvSpPr>
        <p:spPr>
          <a:xfrm>
            <a:off x="6409142" y="6029121"/>
            <a:ext cx="5788829" cy="369332"/>
          </a:xfrm>
          <a:prstGeom prst="rect">
            <a:avLst/>
          </a:prstGeom>
        </p:spPr>
        <p:txBody>
          <a:bodyPr wrap="none">
            <a:spAutoFit/>
          </a:bodyPr>
          <a:lstStyle/>
          <a:p>
            <a:r>
              <a:rPr lang="en-US" dirty="0">
                <a:solidFill>
                  <a:srgbClr val="0070C0"/>
                </a:solidFill>
              </a:rPr>
              <a:t>Responsibility and Accountability to succeed as a team</a:t>
            </a:r>
          </a:p>
        </p:txBody>
      </p:sp>
    </p:spTree>
    <p:extLst>
      <p:ext uri="{BB962C8B-B14F-4D97-AF65-F5344CB8AC3E}">
        <p14:creationId xmlns:p14="http://schemas.microsoft.com/office/powerpoint/2010/main" val="21570956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9921ED-4DE6-442E-B95D-BCEBDBE602FA}"/>
              </a:ext>
            </a:extLst>
          </p:cNvPr>
          <p:cNvSpPr/>
          <p:nvPr/>
        </p:nvSpPr>
        <p:spPr>
          <a:xfrm>
            <a:off x="1578869" y="-9292"/>
            <a:ext cx="9034259" cy="461665"/>
          </a:xfrm>
          <a:prstGeom prst="rect">
            <a:avLst/>
          </a:prstGeom>
        </p:spPr>
        <p:txBody>
          <a:bodyPr wrap="square">
            <a:spAutoFit/>
          </a:bodyPr>
          <a:lstStyle/>
          <a:p>
            <a:r>
              <a:rPr lang="en-US" sz="2400" b="1" i="1" dirty="0">
                <a:solidFill>
                  <a:srgbClr val="FF0000"/>
                </a:solidFill>
              </a:rPr>
              <a:t>An overview of the ADIW platform features  (</a:t>
            </a:r>
            <a:r>
              <a:rPr lang="en-US" sz="2400" b="1" i="1" dirty="0">
                <a:solidFill>
                  <a:srgbClr val="4D4D4D"/>
                </a:solidFill>
              </a:rPr>
              <a:t>link to the tool </a:t>
            </a:r>
            <a:r>
              <a:rPr lang="en-US" sz="2400" b="1" i="1" dirty="0">
                <a:solidFill>
                  <a:srgbClr val="FF0000"/>
                </a:solidFill>
              </a:rPr>
              <a:t>)</a:t>
            </a:r>
          </a:p>
        </p:txBody>
      </p:sp>
      <p:pic>
        <p:nvPicPr>
          <p:cNvPr id="2" name="Picture 1">
            <a:extLst>
              <a:ext uri="{FF2B5EF4-FFF2-40B4-BE49-F238E27FC236}">
                <a16:creationId xmlns:a16="http://schemas.microsoft.com/office/drawing/2014/main" id="{69D2E90E-4B9B-45DA-9DA1-E59F606D53A0}"/>
              </a:ext>
            </a:extLst>
          </p:cNvPr>
          <p:cNvPicPr>
            <a:picLocks noChangeAspect="1"/>
          </p:cNvPicPr>
          <p:nvPr/>
        </p:nvPicPr>
        <p:blipFill rotWithShape="1">
          <a:blip r:embed="rId3"/>
          <a:srcRect l="3034" t="15131" r="15562" b="8165"/>
          <a:stretch/>
        </p:blipFill>
        <p:spPr>
          <a:xfrm>
            <a:off x="517133" y="585627"/>
            <a:ext cx="11157734" cy="5913829"/>
          </a:xfrm>
          <a:prstGeom prst="rect">
            <a:avLst/>
          </a:prstGeom>
        </p:spPr>
      </p:pic>
    </p:spTree>
    <p:extLst>
      <p:ext uri="{BB962C8B-B14F-4D97-AF65-F5344CB8AC3E}">
        <p14:creationId xmlns:p14="http://schemas.microsoft.com/office/powerpoint/2010/main" val="11797150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680FF37-6EBA-4E5D-94BC-19B3E5484BB6}"/>
              </a:ext>
            </a:extLst>
          </p:cNvPr>
          <p:cNvSpPr>
            <a:spLocks noGrp="1"/>
          </p:cNvSpPr>
          <p:nvPr>
            <p:ph type="title"/>
          </p:nvPr>
        </p:nvSpPr>
        <p:spPr>
          <a:xfrm>
            <a:off x="369799" y="643131"/>
            <a:ext cx="10959239" cy="1248553"/>
          </a:xfrm>
        </p:spPr>
        <p:txBody>
          <a:bodyPr/>
          <a:lstStyle/>
          <a:p>
            <a:r>
              <a:rPr lang="en-US" sz="2000" dirty="0"/>
              <a:t>Immunization has always received high level of attention and support (</a:t>
            </a:r>
            <a:r>
              <a:rPr lang="en-US" sz="2000" dirty="0" err="1"/>
              <a:t>i.e</a:t>
            </a:r>
            <a:r>
              <a:rPr lang="en-US" sz="2000" dirty="0"/>
              <a:t> GAVI) but in practice, the ‘after-vaccination’ (what happens after a vaccine is given to a child) is </a:t>
            </a:r>
            <a:r>
              <a:rPr lang="en-US" sz="2000" dirty="0">
                <a:solidFill>
                  <a:srgbClr val="FF0000"/>
                </a:solidFill>
              </a:rPr>
              <a:t>assumed as fine </a:t>
            </a:r>
            <a:r>
              <a:rPr lang="en-US" sz="2000" dirty="0"/>
              <a:t>and the waste generated through immunization delivery is generally not taken care of in a safe manner</a:t>
            </a:r>
            <a:r>
              <a:rPr lang="en-US" sz="2400" dirty="0"/>
              <a:t>.</a:t>
            </a:r>
          </a:p>
        </p:txBody>
      </p:sp>
      <p:sp>
        <p:nvSpPr>
          <p:cNvPr id="8" name="Rectangle 7">
            <a:extLst>
              <a:ext uri="{FF2B5EF4-FFF2-40B4-BE49-F238E27FC236}">
                <a16:creationId xmlns:a16="http://schemas.microsoft.com/office/drawing/2014/main" id="{4B42D791-677A-4410-AFBF-67AC6495640B}"/>
              </a:ext>
            </a:extLst>
          </p:cNvPr>
          <p:cNvSpPr/>
          <p:nvPr/>
        </p:nvSpPr>
        <p:spPr>
          <a:xfrm>
            <a:off x="568271" y="2091958"/>
            <a:ext cx="6233221" cy="3477875"/>
          </a:xfrm>
          <a:prstGeom prst="rect">
            <a:avLst/>
          </a:prstGeom>
        </p:spPr>
        <p:txBody>
          <a:bodyPr wrap="square">
            <a:spAutoFit/>
          </a:bodyPr>
          <a:lstStyle/>
          <a:p>
            <a:r>
              <a:rPr lang="en-US" dirty="0">
                <a:latin typeface="Calibri" panose="020F0502020204030204" pitchFamily="34" charset="0"/>
                <a:ea typeface="Calibri" panose="020F0502020204030204" pitchFamily="34" charset="0"/>
              </a:rPr>
              <a:t> </a:t>
            </a:r>
            <a:r>
              <a:rPr lang="en-US" i="1" dirty="0">
                <a:latin typeface="Calibri" panose="020F0502020204030204" pitchFamily="34" charset="0"/>
                <a:ea typeface="Calibri" panose="020F0502020204030204" pitchFamily="34" charset="0"/>
              </a:rPr>
              <a:t>“</a:t>
            </a:r>
            <a:r>
              <a:rPr lang="en-US" sz="2000" i="1" dirty="0">
                <a:latin typeface="Calibri" panose="020F0502020204030204" pitchFamily="34" charset="0"/>
                <a:ea typeface="Calibri" panose="020F0502020204030204" pitchFamily="34" charset="0"/>
              </a:rPr>
              <a:t>When I was on the very first ICC for Gavi from 2000-2003, I encouraged Gavi without success that, when they were providing countries with HSS guidance, they should include medical sharps incineration or some other destruction in their illustrative examples to countries.  It would have been good for both immunization programs as well as for the health system more broadly”.  </a:t>
            </a:r>
            <a:r>
              <a:rPr lang="en-US" sz="2000" dirty="0">
                <a:latin typeface="Calibri" panose="020F0502020204030204" pitchFamily="34" charset="0"/>
                <a:ea typeface="Calibri" panose="020F0502020204030204" pitchFamily="34" charset="0"/>
              </a:rPr>
              <a:t>  </a:t>
            </a:r>
          </a:p>
          <a:p>
            <a:endParaRPr lang="en-US" sz="2000" dirty="0">
              <a:latin typeface="Calibri" panose="020F0502020204030204" pitchFamily="34" charset="0"/>
              <a:ea typeface="Calibri" panose="020F0502020204030204" pitchFamily="34" charset="0"/>
            </a:endParaRPr>
          </a:p>
          <a:p>
            <a:r>
              <a:rPr lang="en-US" sz="2000" i="1" dirty="0">
                <a:latin typeface="Calibri" panose="020F0502020204030204" pitchFamily="34" charset="0"/>
                <a:ea typeface="Calibri" panose="020F0502020204030204" pitchFamily="34" charset="0"/>
              </a:rPr>
              <a:t>Robert </a:t>
            </a:r>
            <a:r>
              <a:rPr lang="en-US" sz="2000" i="1" dirty="0" err="1">
                <a:latin typeface="Calibri" panose="020F0502020204030204" pitchFamily="34" charset="0"/>
                <a:ea typeface="Calibri" panose="020F0502020204030204" pitchFamily="34" charset="0"/>
              </a:rPr>
              <a:t>Steinglass</a:t>
            </a:r>
            <a:endParaRPr lang="en-US" sz="2000" i="1" dirty="0">
              <a:latin typeface="Calibri" panose="020F0502020204030204" pitchFamily="34" charset="0"/>
              <a:ea typeface="Calibri" panose="020F0502020204030204" pitchFamily="34" charset="0"/>
            </a:endParaRPr>
          </a:p>
          <a:p>
            <a:r>
              <a:rPr lang="en-US" sz="2000" dirty="0">
                <a:latin typeface="Calibri" panose="020F0502020204030204" pitchFamily="34" charset="0"/>
                <a:ea typeface="Calibri" panose="020F0502020204030204" pitchFamily="34" charset="0"/>
              </a:rPr>
              <a:t>His message on the webinar on waste management 07/31/2020 </a:t>
            </a:r>
          </a:p>
        </p:txBody>
      </p:sp>
      <p:pic>
        <p:nvPicPr>
          <p:cNvPr id="9" name="Picture 8">
            <a:extLst>
              <a:ext uri="{FF2B5EF4-FFF2-40B4-BE49-F238E27FC236}">
                <a16:creationId xmlns:a16="http://schemas.microsoft.com/office/drawing/2014/main" id="{942056F7-DC6E-4320-9928-C878BE856DAC}"/>
              </a:ext>
            </a:extLst>
          </p:cNvPr>
          <p:cNvPicPr>
            <a:picLocks noChangeAspect="1"/>
          </p:cNvPicPr>
          <p:nvPr/>
        </p:nvPicPr>
        <p:blipFill rotWithShape="1">
          <a:blip r:embed="rId3"/>
          <a:srcRect t="11918" r="39965"/>
          <a:stretch/>
        </p:blipFill>
        <p:spPr>
          <a:xfrm>
            <a:off x="7506574" y="2222625"/>
            <a:ext cx="4030070" cy="2969232"/>
          </a:xfrm>
          <a:prstGeom prst="rect">
            <a:avLst/>
          </a:prstGeom>
        </p:spPr>
      </p:pic>
      <p:sp>
        <p:nvSpPr>
          <p:cNvPr id="2" name="Rectangle 1">
            <a:extLst>
              <a:ext uri="{FF2B5EF4-FFF2-40B4-BE49-F238E27FC236}">
                <a16:creationId xmlns:a16="http://schemas.microsoft.com/office/drawing/2014/main" id="{B472CA3E-F0B5-40D7-B541-1785066CF191}"/>
              </a:ext>
            </a:extLst>
          </p:cNvPr>
          <p:cNvSpPr/>
          <p:nvPr/>
        </p:nvSpPr>
        <p:spPr>
          <a:xfrm>
            <a:off x="369799" y="5599416"/>
            <a:ext cx="11570109" cy="830997"/>
          </a:xfrm>
          <a:prstGeom prst="rect">
            <a:avLst/>
          </a:prstGeom>
        </p:spPr>
        <p:txBody>
          <a:bodyPr wrap="square">
            <a:spAutoFit/>
          </a:bodyPr>
          <a:lstStyle/>
          <a:p>
            <a:r>
              <a:rPr lang="en-US" sz="2400" b="1" dirty="0"/>
              <a:t>Shouldn’t Countries and Partners think of earmarking </a:t>
            </a:r>
            <a:r>
              <a:rPr lang="en-US" sz="2400" b="1" dirty="0">
                <a:solidFill>
                  <a:srgbClr val="FF0000"/>
                </a:solidFill>
              </a:rPr>
              <a:t>at least </a:t>
            </a:r>
            <a:r>
              <a:rPr lang="en-US" sz="2400" b="1" i="1" dirty="0">
                <a:solidFill>
                  <a:srgbClr val="FF0000"/>
                </a:solidFill>
              </a:rPr>
              <a:t>1/100 to 2/100 </a:t>
            </a:r>
            <a:r>
              <a:rPr lang="en-US" sz="2400" b="1" dirty="0">
                <a:solidFill>
                  <a:srgbClr val="FF0000"/>
                </a:solidFill>
              </a:rPr>
              <a:t>USD </a:t>
            </a:r>
            <a:r>
              <a:rPr lang="en-US" sz="2400" b="1" dirty="0"/>
              <a:t>per syringe/vial purchased to contribute to its appropriate disposal !</a:t>
            </a:r>
          </a:p>
        </p:txBody>
      </p:sp>
      <p:sp>
        <p:nvSpPr>
          <p:cNvPr id="10" name="Rectangle 9">
            <a:extLst>
              <a:ext uri="{FF2B5EF4-FFF2-40B4-BE49-F238E27FC236}">
                <a16:creationId xmlns:a16="http://schemas.microsoft.com/office/drawing/2014/main" id="{06DB173C-F558-4FEA-8A00-09F7042262D7}"/>
              </a:ext>
            </a:extLst>
          </p:cNvPr>
          <p:cNvSpPr/>
          <p:nvPr/>
        </p:nvSpPr>
        <p:spPr>
          <a:xfrm>
            <a:off x="4455709" y="69575"/>
            <a:ext cx="4205405" cy="461665"/>
          </a:xfrm>
          <a:prstGeom prst="rect">
            <a:avLst/>
          </a:prstGeom>
        </p:spPr>
        <p:txBody>
          <a:bodyPr wrap="square">
            <a:spAutoFit/>
          </a:bodyPr>
          <a:lstStyle/>
          <a:p>
            <a:r>
              <a:rPr lang="en-US" sz="2400" b="1" i="1" dirty="0">
                <a:solidFill>
                  <a:srgbClr val="FF0000"/>
                </a:solidFill>
              </a:rPr>
              <a:t>And what should be next ?</a:t>
            </a:r>
          </a:p>
        </p:txBody>
      </p:sp>
    </p:spTree>
    <p:extLst>
      <p:ext uri="{BB962C8B-B14F-4D97-AF65-F5344CB8AC3E}">
        <p14:creationId xmlns:p14="http://schemas.microsoft.com/office/powerpoint/2010/main" val="32197134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1992573" y="2108168"/>
            <a:ext cx="7728943" cy="3255403"/>
          </a:xfrm>
        </p:spPr>
        <p:txBody>
          <a:bodyPr/>
          <a:lstStyle/>
          <a:p>
            <a:r>
              <a:rPr lang="en-US" sz="2000" b="0" dirty="0"/>
              <a:t>HCWM is a system that must be planned and coordinated across multiple stakeholders and programs. </a:t>
            </a:r>
            <a:r>
              <a:rPr lang="en-US" sz="2000" b="0" dirty="0" err="1"/>
              <a:t>Immunisation</a:t>
            </a:r>
            <a:r>
              <a:rPr lang="en-US" sz="2000" b="0" dirty="0"/>
              <a:t> leaders must coordinate closely with the government entities responsible for waste management to best link resources and technologies and ensure implementation of best practices for managing health care waste. This guide was designed to help you to prepare and plan your HCWM system. Your system should be based on real needs and a vision of the future for growth, innovations, and opportunities for improvements across all areas of the system. </a:t>
            </a:r>
            <a:endParaRPr lang="en-US" sz="2000" dirty="0"/>
          </a:p>
        </p:txBody>
      </p:sp>
      <p:sp>
        <p:nvSpPr>
          <p:cNvPr id="5" name="Slide Number Placeholder 4"/>
          <p:cNvSpPr>
            <a:spLocks noGrp="1"/>
          </p:cNvSpPr>
          <p:nvPr>
            <p:ph type="sldNum" sz="quarter" idx="4294967295"/>
          </p:nvPr>
        </p:nvSpPr>
        <p:spPr>
          <a:xfrm>
            <a:off x="204720" y="6327775"/>
            <a:ext cx="1200150" cy="5302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GB" sz="1200" b="1" i="0" u="none" strike="noStrike" kern="1200" cap="none" spc="0" normalizeH="0" baseline="0" noProof="0" smtClean="0">
                <a:ln>
                  <a:noFill/>
                </a:ln>
                <a:solidFill>
                  <a:srgbClr val="343434"/>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GB" sz="1200" b="1" i="0" u="none" strike="noStrike" kern="1200" cap="none" spc="0" normalizeH="0" baseline="0" noProof="0" dirty="0">
              <a:ln>
                <a:noFill/>
              </a:ln>
              <a:solidFill>
                <a:srgbClr val="343434"/>
              </a:solidFill>
              <a:effectLst/>
              <a:uLnTx/>
              <a:uFillTx/>
              <a:latin typeface="Arial"/>
              <a:ea typeface="+mn-ea"/>
              <a:cs typeface="+mn-cs"/>
            </a:endParaRPr>
          </a:p>
        </p:txBody>
      </p:sp>
    </p:spTree>
    <p:extLst>
      <p:ext uri="{BB962C8B-B14F-4D97-AF65-F5344CB8AC3E}">
        <p14:creationId xmlns:p14="http://schemas.microsoft.com/office/powerpoint/2010/main" val="22758157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8227" y="2484465"/>
            <a:ext cx="6384000" cy="2232000"/>
          </a:xfrm>
        </p:spPr>
        <p:txBody>
          <a:bodyPr/>
          <a:lstStyle/>
          <a:p>
            <a:r>
              <a:rPr lang="en-US" sz="6000" dirty="0"/>
              <a:t>Questions?</a:t>
            </a:r>
          </a:p>
          <a:p>
            <a:endParaRPr lang="en-US" dirty="0"/>
          </a:p>
          <a:p>
            <a:r>
              <a:rPr lang="en-US" dirty="0"/>
              <a:t>THANK YOU</a:t>
            </a:r>
          </a:p>
        </p:txBody>
      </p:sp>
      <p:sp>
        <p:nvSpPr>
          <p:cNvPr id="8" name="Text Placeholder 7"/>
          <p:cNvSpPr>
            <a:spLocks noGrp="1"/>
          </p:cNvSpPr>
          <p:nvPr>
            <p:ph type="body" sz="quarter" idx="20"/>
          </p:nvPr>
        </p:nvSpPr>
        <p:spPr/>
        <p:txBody>
          <a:bodyPr/>
          <a:lstStyle/>
          <a:p>
            <a:endParaRPr lang="en-US"/>
          </a:p>
        </p:txBody>
      </p:sp>
      <p:sp>
        <p:nvSpPr>
          <p:cNvPr id="4" name="Slide Number Placeholder 3"/>
          <p:cNvSpPr>
            <a:spLocks noGrp="1"/>
          </p:cNvSpPr>
          <p:nvPr>
            <p:ph type="sldNum" sz="quarter" idx="4294967295"/>
          </p:nvPr>
        </p:nvSpPr>
        <p:spPr>
          <a:xfrm>
            <a:off x="232016" y="6327775"/>
            <a:ext cx="1200150" cy="5302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69806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EMPLATELASTEDITED" val="2020-05-20 12:41 PM"/>
  <p:tag name="THINKCELLPRESENTATIONDONOTDELETE" val="&lt;?xml version=&quot;1.0&quot; encoding=&quot;UTF-16&quot; standalone=&quot;yes&quot;?&gt;&lt;root reqver=&quot;25060&quot;&gt;&lt;version val=&quot;282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1.00000000000000000000E+00&quot;&gt;&lt;m_msothmcolidx val=&quot;0&quot;/&gt;&lt;m_rgb r=&quot;05&quot; g=&quot;85&quot; b=&quot;C2&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xml><?xml version="1.0" encoding="utf-8"?>
<p:tagLst xmlns:a="http://schemas.openxmlformats.org/drawingml/2006/main" xmlns:r="http://schemas.openxmlformats.org/officeDocument/2006/relationships" xmlns:p="http://schemas.openxmlformats.org/presentationml/2006/main">
  <p:tag name="SHAPENAME" val="5. Source"/>
</p:tagLst>
</file>

<file path=ppt/tags/tag1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1vXK9SZqw9.Rpm8LZGdHg"/>
</p:tagLst>
</file>

<file path=ppt/tags/tag11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9.xml><?xml version="1.0" encoding="utf-8"?>
<p:tagLst xmlns:a="http://schemas.openxmlformats.org/drawingml/2006/main" xmlns:r="http://schemas.openxmlformats.org/officeDocument/2006/relationships" xmlns:p="http://schemas.openxmlformats.org/presentationml/2006/main">
  <p:tag name="SHAPENAME" val="Subtitl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Titl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xml><?xml version="1.0" encoding="utf-8"?>
<p:tagLst xmlns:a="http://schemas.openxmlformats.org/drawingml/2006/main" xmlns:r="http://schemas.openxmlformats.org/officeDocument/2006/relationships" xmlns:p="http://schemas.openxmlformats.org/presentationml/2006/main">
  <p:tag name="SHAPENAME" val="Grid"/>
</p:tagLst>
</file>

<file path=ppt/tags/tag13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3.xml><?xml version="1.0" encoding="utf-8"?>
<p:tagLst xmlns:a="http://schemas.openxmlformats.org/drawingml/2006/main" xmlns:r="http://schemas.openxmlformats.org/officeDocument/2006/relationships" xmlns:p="http://schemas.openxmlformats.org/presentationml/2006/main">
  <p:tag name="NAME" val="ACET"/>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8.xml><?xml version="1.0" encoding="utf-8"?>
<p:tagLst xmlns:a="http://schemas.openxmlformats.org/drawingml/2006/main" xmlns:r="http://schemas.openxmlformats.org/officeDocument/2006/relationships" xmlns:p="http://schemas.openxmlformats.org/presentationml/2006/main">
  <p:tag name="NAME" val="Moon"/>
</p:tagLst>
</file>

<file path=ppt/tags/tag139.xml><?xml version="1.0" encoding="utf-8"?>
<p:tagLst xmlns:a="http://schemas.openxmlformats.org/drawingml/2006/main" xmlns:r="http://schemas.openxmlformats.org/officeDocument/2006/relationships" xmlns:p="http://schemas.openxmlformats.org/presentationml/2006/main">
  <p:tag name="ANGLE" val="5"/>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ANGLE" val="5"/>
</p:tagLst>
</file>

<file path=ppt/tags/tag141.xml><?xml version="1.0" encoding="utf-8"?>
<p:tagLst xmlns:a="http://schemas.openxmlformats.org/drawingml/2006/main" xmlns:r="http://schemas.openxmlformats.org/officeDocument/2006/relationships" xmlns:p="http://schemas.openxmlformats.org/presentationml/2006/main">
  <p:tag name="ANGLE" val="4"/>
</p:tagLst>
</file>

<file path=ppt/tags/tag142.xml><?xml version="1.0" encoding="utf-8"?>
<p:tagLst xmlns:a="http://schemas.openxmlformats.org/drawingml/2006/main" xmlns:r="http://schemas.openxmlformats.org/officeDocument/2006/relationships" xmlns:p="http://schemas.openxmlformats.org/presentationml/2006/main">
  <p:tag name="ANGLE" val="4"/>
</p:tagLst>
</file>

<file path=ppt/tags/tag143.xml><?xml version="1.0" encoding="utf-8"?>
<p:tagLst xmlns:a="http://schemas.openxmlformats.org/drawingml/2006/main" xmlns:r="http://schemas.openxmlformats.org/officeDocument/2006/relationships" xmlns:p="http://schemas.openxmlformats.org/presentationml/2006/main">
  <p:tag name="ANGLE" val="3"/>
</p:tagLst>
</file>

<file path=ppt/tags/tag144.xml><?xml version="1.0" encoding="utf-8"?>
<p:tagLst xmlns:a="http://schemas.openxmlformats.org/drawingml/2006/main" xmlns:r="http://schemas.openxmlformats.org/officeDocument/2006/relationships" xmlns:p="http://schemas.openxmlformats.org/presentationml/2006/main">
  <p:tag name="ANGLE" val="3"/>
</p:tagLst>
</file>

<file path=ppt/tags/tag145.xml><?xml version="1.0" encoding="utf-8"?>
<p:tagLst xmlns:a="http://schemas.openxmlformats.org/drawingml/2006/main" xmlns:r="http://schemas.openxmlformats.org/officeDocument/2006/relationships" xmlns:p="http://schemas.openxmlformats.org/presentationml/2006/main">
  <p:tag name="ANGLE" val="2"/>
</p:tagLst>
</file>

<file path=ppt/tags/tag146.xml><?xml version="1.0" encoding="utf-8"?>
<p:tagLst xmlns:a="http://schemas.openxmlformats.org/drawingml/2006/main" xmlns:r="http://schemas.openxmlformats.org/officeDocument/2006/relationships" xmlns:p="http://schemas.openxmlformats.org/presentationml/2006/main">
  <p:tag name="ANGLE" val="2"/>
</p:tagLst>
</file>

<file path=ppt/tags/tag147.xml><?xml version="1.0" encoding="utf-8"?>
<p:tagLst xmlns:a="http://schemas.openxmlformats.org/drawingml/2006/main" xmlns:r="http://schemas.openxmlformats.org/officeDocument/2006/relationships" xmlns:p="http://schemas.openxmlformats.org/presentationml/2006/main">
  <p:tag name="ANGLE" val="1"/>
</p:tagLst>
</file>

<file path=ppt/tags/tag148.xml><?xml version="1.0" encoding="utf-8"?>
<p:tagLst xmlns:a="http://schemas.openxmlformats.org/drawingml/2006/main" xmlns:r="http://schemas.openxmlformats.org/officeDocument/2006/relationships" xmlns:p="http://schemas.openxmlformats.org/presentationml/2006/main">
  <p:tag name="ANGLE" val="1"/>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q1vXK9SZqw9.Rpm8LZGdHg"/>
</p:tagLst>
</file>

<file path=ppt/tags/tag15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2.xml><?xml version="1.0" encoding="utf-8"?>
<p:tagLst xmlns:a="http://schemas.openxmlformats.org/drawingml/2006/main" xmlns:r="http://schemas.openxmlformats.org/officeDocument/2006/relationships" xmlns:p="http://schemas.openxmlformats.org/presentationml/2006/main">
  <p:tag name="SHAPENAME" val="Subtitle"/>
</p:tagLst>
</file>

<file path=ppt/tags/tag153.xml><?xml version="1.0" encoding="utf-8"?>
<p:tagLst xmlns:a="http://schemas.openxmlformats.org/drawingml/2006/main" xmlns:r="http://schemas.openxmlformats.org/officeDocument/2006/relationships" xmlns:p="http://schemas.openxmlformats.org/presentationml/2006/main">
  <p:tag name="SHAPENAME" val="Titl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q1vXK9SZqw9.Rpm8LZGdHg"/>
</p:tagLst>
</file>

<file path=ppt/tags/tag15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7.xml><?xml version="1.0" encoding="utf-8"?>
<p:tagLst xmlns:a="http://schemas.openxmlformats.org/drawingml/2006/main" xmlns:r="http://schemas.openxmlformats.org/officeDocument/2006/relationships" xmlns:p="http://schemas.openxmlformats.org/presentationml/2006/main">
  <p:tag name="SHAPENAME" val="Subtitle"/>
</p:tagLst>
</file>

<file path=ppt/tags/tag158.xml><?xml version="1.0" encoding="utf-8"?>
<p:tagLst xmlns:a="http://schemas.openxmlformats.org/drawingml/2006/main" xmlns:r="http://schemas.openxmlformats.org/officeDocument/2006/relationships" xmlns:p="http://schemas.openxmlformats.org/presentationml/2006/main">
  <p:tag name="SHAPENAME" val="Titl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5. Source"/>
</p:tagLst>
</file>

<file path=ppt/tags/tag1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9.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9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6.xml><?xml version="1.0" encoding="utf-8"?>
<p:tagLst xmlns:a="http://schemas.openxmlformats.org/drawingml/2006/main" xmlns:r="http://schemas.openxmlformats.org/officeDocument/2006/relationships" xmlns:p="http://schemas.openxmlformats.org/presentationml/2006/main">
  <p:tag name="SHAPENAME" val="5. Source"/>
</p:tagLst>
</file>

<file path=ppt/tags/tag1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20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0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SHAPENAME" val="5. Source"/>
</p:tagLst>
</file>

<file path=ppt/tags/tag2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4.xml><?xml version="1.0" encoding="utf-8"?>
<p:tagLst xmlns:a="http://schemas.openxmlformats.org/drawingml/2006/main" xmlns:r="http://schemas.openxmlformats.org/officeDocument/2006/relationships" xmlns:p="http://schemas.openxmlformats.org/presentationml/2006/main">
  <p:tag name="SHAPENAME" val="5. Source"/>
</p:tagLst>
</file>

<file path=ppt/tags/tag2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SHAPENAME" val="5. Sourc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SHAPENAME" val="5. Sourc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6.xml><?xml version="1.0" encoding="utf-8"?>
<p:tagLst xmlns:a="http://schemas.openxmlformats.org/drawingml/2006/main" xmlns:r="http://schemas.openxmlformats.org/officeDocument/2006/relationships" xmlns:p="http://schemas.openxmlformats.org/presentationml/2006/main">
  <p:tag name="SHAPENAME" val="Subtitle"/>
</p:tagLst>
</file>

<file path=ppt/tags/tag247.xml><?xml version="1.0" encoding="utf-8"?>
<p:tagLst xmlns:a="http://schemas.openxmlformats.org/drawingml/2006/main" xmlns:r="http://schemas.openxmlformats.org/officeDocument/2006/relationships" xmlns:p="http://schemas.openxmlformats.org/presentationml/2006/main">
  <p:tag name="SHAPENAME" val="Titl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3.xml><?xml version="1.0" encoding="utf-8"?>
<p:tagLst xmlns:a="http://schemas.openxmlformats.org/drawingml/2006/main" xmlns:r="http://schemas.openxmlformats.org/officeDocument/2006/relationships" xmlns:p="http://schemas.openxmlformats.org/presentationml/2006/main">
  <p:tag name="SHAPENAME" val="5. Source"/>
</p:tagLst>
</file>

<file path=ppt/tags/tag2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5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SHAPENAME" val="5. Source"/>
</p:tagLst>
</file>

<file path=ppt/tags/tag2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_fjucZxorwX6wHJQQDKv8A"/>
</p:tagLst>
</file>

<file path=ppt/tags/tag2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7.xml><?xml version="1.0" encoding="utf-8"?>
<p:tagLst xmlns:a="http://schemas.openxmlformats.org/drawingml/2006/main" xmlns:r="http://schemas.openxmlformats.org/officeDocument/2006/relationships" xmlns:p="http://schemas.openxmlformats.org/presentationml/2006/main">
  <p:tag name="NAME" val="KeyTakeawayOF"/>
  <p:tag name="1LEVEL" val="19"/>
  <p:tag name="2LEVEL" val="9.5"/>
  <p:tag name="3LEVEL" val="4.75"/>
  <p:tag name="4LEVEL" val="2.38"/>
  <p:tag name="5LEVEL" val="1.19"/>
</p:tagLst>
</file>

<file path=ppt/tags/tag268.xml><?xml version="1.0" encoding="utf-8"?>
<p:tagLst xmlns:a="http://schemas.openxmlformats.org/drawingml/2006/main" xmlns:r="http://schemas.openxmlformats.org/officeDocument/2006/relationships" xmlns:p="http://schemas.openxmlformats.org/presentationml/2006/main">
  <p:tag name="NAME" val="KeyTakeawayOF"/>
</p:tagLst>
</file>

<file path=ppt/tags/tag269.xml><?xml version="1.0" encoding="utf-8"?>
<p:tagLst xmlns:a="http://schemas.openxmlformats.org/drawingml/2006/main" xmlns:r="http://schemas.openxmlformats.org/officeDocument/2006/relationships" xmlns:p="http://schemas.openxmlformats.org/presentationml/2006/main">
  <p:tag name="NAME" val="KeyTakeawayOF"/>
  <p:tag name="1LEVEL" val="19"/>
  <p:tag name="2LEVEL" val="9.5"/>
  <p:tag name="3LEVEL" val="4.75"/>
  <p:tag name="4LEVEL" val="2.38"/>
  <p:tag name="5LEVEL" val="1.19"/>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NAME" val="TrackerNumBlu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_fjucZxorwX6wHJQQDKv8A"/>
</p:tagLst>
</file>

<file path=ppt/tags/tag2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4.xml><?xml version="1.0" encoding="utf-8"?>
<p:tagLst xmlns:a="http://schemas.openxmlformats.org/drawingml/2006/main" xmlns:r="http://schemas.openxmlformats.org/officeDocument/2006/relationships" xmlns:p="http://schemas.openxmlformats.org/presentationml/2006/main">
  <p:tag name="NAME" val="KeyTakeawayOF"/>
  <p:tag name="1LEVEL" val="19"/>
  <p:tag name="2LEVEL" val="9.5"/>
  <p:tag name="3LEVEL" val="4.75"/>
  <p:tag name="4LEVEL" val="2.38"/>
  <p:tag name="5LEVEL" val="1.19"/>
</p:tagLst>
</file>

<file path=ppt/tags/tag275.xml><?xml version="1.0" encoding="utf-8"?>
<p:tagLst xmlns:a="http://schemas.openxmlformats.org/drawingml/2006/main" xmlns:r="http://schemas.openxmlformats.org/officeDocument/2006/relationships" xmlns:p="http://schemas.openxmlformats.org/presentationml/2006/main">
  <p:tag name="NAME" val="KeyTakeawayOF"/>
</p:tagLst>
</file>

<file path=ppt/tags/tag276.xml><?xml version="1.0" encoding="utf-8"?>
<p:tagLst xmlns:a="http://schemas.openxmlformats.org/drawingml/2006/main" xmlns:r="http://schemas.openxmlformats.org/officeDocument/2006/relationships" xmlns:p="http://schemas.openxmlformats.org/presentationml/2006/main">
  <p:tag name="NAME" val="KeyTakeawayOF"/>
  <p:tag name="1LEVEL" val="19"/>
  <p:tag name="2LEVEL" val="9.5"/>
  <p:tag name="3LEVEL" val="4.75"/>
  <p:tag name="4LEVEL" val="2.38"/>
  <p:tag name="5LEVEL" val="1.19"/>
</p:tagLst>
</file>

<file path=ppt/tags/tag277.xml><?xml version="1.0" encoding="utf-8"?>
<p:tagLst xmlns:a="http://schemas.openxmlformats.org/drawingml/2006/main" xmlns:r="http://schemas.openxmlformats.org/officeDocument/2006/relationships" xmlns:p="http://schemas.openxmlformats.org/presentationml/2006/main">
  <p:tag name="NAME" val="TrackerNumBlu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_fjucZxorwX6wHJQQDKv8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1.xml><?xml version="1.0" encoding="utf-8"?>
<p:tagLst xmlns:a="http://schemas.openxmlformats.org/drawingml/2006/main" xmlns:r="http://schemas.openxmlformats.org/officeDocument/2006/relationships" xmlns:p="http://schemas.openxmlformats.org/presentationml/2006/main">
  <p:tag name="NAME" val="KeyTakeawayOF"/>
  <p:tag name="1LEVEL" val="19"/>
  <p:tag name="2LEVEL" val="9.5"/>
  <p:tag name="3LEVEL" val="4.75"/>
  <p:tag name="4LEVEL" val="2.38"/>
  <p:tag name="5LEVEL" val="1.19"/>
</p:tagLst>
</file>

<file path=ppt/tags/tag282.xml><?xml version="1.0" encoding="utf-8"?>
<p:tagLst xmlns:a="http://schemas.openxmlformats.org/drawingml/2006/main" xmlns:r="http://schemas.openxmlformats.org/officeDocument/2006/relationships" xmlns:p="http://schemas.openxmlformats.org/presentationml/2006/main">
  <p:tag name="NAME" val="TrackerNumBlu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5. Source"/>
</p:tagLst>
</file>

<file path=ppt/tags/tag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292_OFF.potx" id="{B9788C92-DFE4-4FAC-85BD-740F0F30D145}" vid="{DB162D18-532E-429A-94C6-F9CC17B5C802}"/>
    </a:ext>
  </a:extLst>
</a:theme>
</file>

<file path=ppt/theme/theme2.xml><?xml version="1.0" encoding="utf-8"?>
<a:theme xmlns:a="http://schemas.openxmlformats.org/drawingml/2006/main" name="Contrast">
  <a:themeElements>
    <a:clrScheme name="Scheme2">
      <a:dk1>
        <a:srgbClr val="FFFFFF"/>
      </a:dk1>
      <a:lt1>
        <a:srgbClr val="4D4D4D"/>
      </a:lt1>
      <a:dk2>
        <a:srgbClr val="000000"/>
      </a:dk2>
      <a:lt2>
        <a:srgbClr val="000000"/>
      </a:lt2>
      <a:accent1>
        <a:srgbClr val="FFFFFF"/>
      </a:accent1>
      <a:accent2>
        <a:srgbClr val="969696"/>
      </a:accent2>
      <a:accent3>
        <a:srgbClr val="808080"/>
      </a:accent3>
      <a:accent4>
        <a:srgbClr val="B2B2B2"/>
      </a:accent4>
      <a:accent5>
        <a:srgbClr val="5F5F5F"/>
      </a:accent5>
      <a:accent6>
        <a:srgbClr val="DDDDD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4D4D4D"/>
        </a:lt1>
        <a:dk2>
          <a:srgbClr val="000000"/>
        </a:dk2>
        <a:lt2>
          <a:srgbClr val="000000"/>
        </a:lt2>
        <a:accent1>
          <a:srgbClr val="FFFFFF"/>
        </a:accent1>
        <a:accent2>
          <a:srgbClr val="969696"/>
        </a:accent2>
        <a:accent3>
          <a:srgbClr val="808080"/>
        </a:accent3>
        <a:accent4>
          <a:srgbClr val="B2B2B2"/>
        </a:accent4>
        <a:accent5>
          <a:srgbClr val="5F5F5F"/>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292_OFF.potx" id="{B9788C92-DFE4-4FAC-85BD-740F0F30D145}" vid="{7CDD0DF9-C015-4E1D-AC3B-8899D4533376}"/>
    </a:ext>
  </a:extLst>
</a:theme>
</file>

<file path=ppt/theme/theme3.xml><?xml version="1.0" encoding="utf-8"?>
<a:theme xmlns:a="http://schemas.openxmlformats.org/drawingml/2006/main" name="Gavi">
  <a:themeElements>
    <a:clrScheme name="Gavi">
      <a:dk1>
        <a:srgbClr val="343434"/>
      </a:dk1>
      <a:lt1>
        <a:sysClr val="window" lastClr="FFFFFF"/>
      </a:lt1>
      <a:dk2>
        <a:srgbClr val="F59BBB"/>
      </a:dk2>
      <a:lt2>
        <a:srgbClr val="878787"/>
      </a:lt2>
      <a:accent1>
        <a:srgbClr val="005CB9"/>
      </a:accent1>
      <a:accent2>
        <a:srgbClr val="00A1DF"/>
      </a:accent2>
      <a:accent3>
        <a:srgbClr val="95D600"/>
      </a:accent3>
      <a:accent4>
        <a:srgbClr val="A51890"/>
      </a:accent4>
      <a:accent5>
        <a:srgbClr val="CE0F69"/>
      </a:accent5>
      <a:accent6>
        <a:srgbClr val="005A70"/>
      </a:accent6>
      <a:hlink>
        <a:srgbClr val="343434"/>
      </a:hlink>
      <a:folHlink>
        <a:srgbClr val="343434"/>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555813AD56A8747B42CD659163491F5" ma:contentTypeVersion="13" ma:contentTypeDescription="Create a new document." ma:contentTypeScope="" ma:versionID="e5680067b2e62eb20db30208f622cdf5">
  <xsd:schema xmlns:xsd="http://www.w3.org/2001/XMLSchema" xmlns:xs="http://www.w3.org/2001/XMLSchema" xmlns:p="http://schemas.microsoft.com/office/2006/metadata/properties" xmlns:ns3="47eb5a2e-5173-46c3-9cd8-43072e27c721" xmlns:ns4="dbf439e4-b006-4c2f-a1b4-9ed0d3fc69da" targetNamespace="http://schemas.microsoft.com/office/2006/metadata/properties" ma:root="true" ma:fieldsID="d0bd02e5141ef15b99de274694d3074a" ns3:_="" ns4:_="">
    <xsd:import namespace="47eb5a2e-5173-46c3-9cd8-43072e27c721"/>
    <xsd:import namespace="dbf439e4-b006-4c2f-a1b4-9ed0d3fc69d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eb5a2e-5173-46c3-9cd8-43072e27c7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bf439e4-b006-4c2f-a1b4-9ed0d3fc69da"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5292929-BF0D-43C0-AA6D-752AC165E6DE}">
  <ds:schemaRefs>
    <ds:schemaRef ds:uri="http://schemas.microsoft.com/sharepoint/v3/contenttype/forms"/>
  </ds:schemaRefs>
</ds:datastoreItem>
</file>

<file path=customXml/itemProps2.xml><?xml version="1.0" encoding="utf-8"?>
<ds:datastoreItem xmlns:ds="http://schemas.openxmlformats.org/officeDocument/2006/customXml" ds:itemID="{AF9C2F95-59DF-4DEE-8647-A13E574DAC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eb5a2e-5173-46c3-9cd8-43072e27c721"/>
    <ds:schemaRef ds:uri="dbf439e4-b006-4c2f-a1b4-9ed0d3fc69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97C57C5-1E3C-46D0-AF07-3ED271349F96}">
  <ds:schemaRefs>
    <ds:schemaRef ds:uri="http://schemas.microsoft.com/office/2006/metadata/properties"/>
    <ds:schemaRef ds:uri="http://purl.org/dc/elements/1.1/"/>
    <ds:schemaRef ds:uri="http://schemas.microsoft.com/office/infopath/2007/PartnerControls"/>
    <ds:schemaRef ds:uri="http://www.w3.org/XML/1998/namespace"/>
    <ds:schemaRef ds:uri="dbf439e4-b006-4c2f-a1b4-9ed0d3fc69da"/>
    <ds:schemaRef ds:uri="http://schemas.microsoft.com/office/2006/documentManagement/types"/>
    <ds:schemaRef ds:uri="http://purl.org/dc/dcmitype/"/>
    <ds:schemaRef ds:uri="http://purl.org/dc/terms/"/>
    <ds:schemaRef ds:uri="http://schemas.openxmlformats.org/package/2006/metadata/core-properties"/>
    <ds:schemaRef ds:uri="47eb5a2e-5173-46c3-9cd8-43072e27c721"/>
  </ds:schemaRefs>
</ds:datastoreItem>
</file>

<file path=docProps/app.xml><?xml version="1.0" encoding="utf-8"?>
<Properties xmlns="http://schemas.openxmlformats.org/officeDocument/2006/extended-properties" xmlns:vt="http://schemas.openxmlformats.org/officeDocument/2006/docPropsVTypes">
  <Template>GV0292_OFF</Template>
  <TotalTime>22059</TotalTime>
  <Words>631</Words>
  <Application>Microsoft Office PowerPoint</Application>
  <PresentationFormat>Widescreen</PresentationFormat>
  <Paragraphs>48</Paragraphs>
  <Slides>8</Slides>
  <Notes>2</Notes>
  <HiddenSlides>2</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19" baseType="lpstr">
      <vt:lpstr>Segoe UI</vt:lpstr>
      <vt:lpstr>Wingdings</vt:lpstr>
      <vt:lpstr>Calibri Light</vt:lpstr>
      <vt:lpstr>Georgia</vt:lpstr>
      <vt:lpstr>Arial</vt:lpstr>
      <vt:lpstr>Calibri</vt:lpstr>
      <vt:lpstr>White</vt:lpstr>
      <vt:lpstr>Contrast</vt:lpstr>
      <vt:lpstr>Gavi</vt:lpstr>
      <vt:lpstr>Office Theme</vt:lpstr>
      <vt:lpstr>think-cell Slide</vt:lpstr>
      <vt:lpstr>A Platform to design a sound immunization waste management system</vt:lpstr>
      <vt:lpstr> The Context</vt:lpstr>
      <vt:lpstr>The objectives</vt:lpstr>
      <vt:lpstr>The ADIW critical requirements</vt:lpstr>
      <vt:lpstr>PowerPoint Presentation</vt:lpstr>
      <vt:lpstr>Immunization has always received high level of attention and support (i.e GAVI) but in practice, the ‘after-vaccination’ (what happens after a vaccine is given to a child) is assumed as fine and the waste generated through immunization delivery is generally not taken care of in a safe manner.</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AX</dc:title>
  <dc:subject/>
  <dc:creator>Erwan Rolland</dc:creator>
  <cp:keywords/>
  <dc:description/>
  <cp:lastModifiedBy>Adama Sawadogo</cp:lastModifiedBy>
  <cp:revision>982</cp:revision>
  <cp:lastPrinted>2018-10-30T20:37:12Z</cp:lastPrinted>
  <dcterms:created xsi:type="dcterms:W3CDTF">2020-05-22T07:11:40Z</dcterms:created>
  <dcterms:modified xsi:type="dcterms:W3CDTF">2020-08-20T11:59:59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05-20 12:41 PM</vt:lpwstr>
  </property>
  <property fmtid="{D5CDD505-2E9C-101B-9397-08002B2CF9AE}" pid="8" name="TemplateCreated">
    <vt:lpwstr>2019-02-27 01:18 PM</vt:lpwstr>
  </property>
  <property fmtid="{D5CDD505-2E9C-101B-9397-08002B2CF9AE}" pid="9" name="ContentTypeId">
    <vt:lpwstr>0x0101007555813AD56A8747B42CD659163491F5</vt:lpwstr>
  </property>
</Properties>
</file>